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667" r:id="rId4"/>
    <p:sldMasterId id="2147483670" r:id="rId5"/>
    <p:sldMasterId id="2147483698" r:id="rId6"/>
    <p:sldMasterId id="2147483731" r:id="rId7"/>
    <p:sldMasterId id="2147483738" r:id="rId8"/>
    <p:sldMasterId id="2147483751" r:id="rId9"/>
  </p:sldMasterIdLst>
  <p:notesMasterIdLst>
    <p:notesMasterId r:id="rId26"/>
  </p:notesMasterIdLst>
  <p:sldIdLst>
    <p:sldId id="2147375246" r:id="rId10"/>
    <p:sldId id="2147375736" r:id="rId11"/>
    <p:sldId id="2147375863" r:id="rId12"/>
    <p:sldId id="277" r:id="rId13"/>
    <p:sldId id="256" r:id="rId14"/>
    <p:sldId id="2147375892" r:id="rId15"/>
    <p:sldId id="2147375890" r:id="rId16"/>
    <p:sldId id="2147375899" r:id="rId17"/>
    <p:sldId id="2147375898" r:id="rId18"/>
    <p:sldId id="2147375893" r:id="rId19"/>
    <p:sldId id="2147375868" r:id="rId20"/>
    <p:sldId id="2147375894" r:id="rId21"/>
    <p:sldId id="2147375897" r:id="rId22"/>
    <p:sldId id="2147375896" r:id="rId23"/>
    <p:sldId id="2147375749" r:id="rId24"/>
    <p:sldId id="2147375882" r:id="rId25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C3ADD38-9C80-4DF3-9B9F-88882C04E9DF}">
          <p14:sldIdLst>
            <p14:sldId id="2147375246"/>
            <p14:sldId id="2147375736"/>
            <p14:sldId id="2147375863"/>
            <p14:sldId id="277"/>
            <p14:sldId id="256"/>
            <p14:sldId id="2147375892"/>
            <p14:sldId id="2147375890"/>
            <p14:sldId id="2147375899"/>
            <p14:sldId id="2147375898"/>
            <p14:sldId id="2147375893"/>
            <p14:sldId id="2147375868"/>
            <p14:sldId id="2147375894"/>
            <p14:sldId id="2147375897"/>
            <p14:sldId id="2147375896"/>
            <p14:sldId id="2147375749"/>
            <p14:sldId id="214737588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pos="279" userDrawn="1">
          <p15:clr>
            <a:srgbClr val="A4A3A4"/>
          </p15:clr>
        </p15:guide>
        <p15:guide id="3" orient="horz" pos="113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Ubaldi, Asia" initials="DA" lastIdx="1" clrIdx="0">
    <p:extLst>
      <p:ext uri="{19B8F6BF-5375-455C-9EA6-DF929625EA0E}">
        <p15:presenceInfo xmlns:p15="http://schemas.microsoft.com/office/powerpoint/2012/main" userId="S::asia.dubaldi@accenture.com::4b6ea964-0f11-4b3d-97b7-d5a0359072c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2643"/>
    <a:srgbClr val="1D3880"/>
    <a:srgbClr val="476DB6"/>
    <a:srgbClr val="F2F2F2"/>
    <a:srgbClr val="D4FED7"/>
    <a:srgbClr val="000000"/>
    <a:srgbClr val="D9E9F9"/>
    <a:srgbClr val="E7F5FF"/>
    <a:srgbClr val="BCCAE5"/>
    <a:srgbClr val="CDA7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F6A65A-EA6B-4268-A0EC-A0D52F708858}" vWet="1" dt="2022-05-17T08:23:27.746"/>
    <p1510:client id="{BCF8C3B6-BB8E-4457-8ABB-AABF3AF737FC}" v="5" dt="2022-05-17T18:35:39.836"/>
    <p1510:client id="{EEA06CB2-82F2-4ED8-9229-4AD4686F732E}" v="1462" dt="2022-05-17T16:25:08.0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Stile chiaro 3 - Colore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65" autoAdjust="0"/>
    <p:restoredTop sz="93372" autoAdjust="0"/>
  </p:normalViewPr>
  <p:slideViewPr>
    <p:cSldViewPr snapToGrid="0">
      <p:cViewPr varScale="1">
        <p:scale>
          <a:sx n="62" d="100"/>
          <a:sy n="62" d="100"/>
        </p:scale>
        <p:origin x="812" y="52"/>
      </p:cViewPr>
      <p:guideLst>
        <p:guide orient="horz"/>
        <p:guide pos="279"/>
        <p:guide orient="horz" pos="11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rone, Chiara" userId="d9d5b965-323f-43ee-9ca8-6b95d06dc7f9" providerId="ADAL" clId="{BCF8C3B6-BB8E-4457-8ABB-AABF3AF737FC}"/>
    <pc:docChg chg="undo custSel addSld delSld modSld delSection modSection">
      <pc:chgData name="Pirone, Chiara" userId="d9d5b965-323f-43ee-9ca8-6b95d06dc7f9" providerId="ADAL" clId="{BCF8C3B6-BB8E-4457-8ABB-AABF3AF737FC}" dt="2022-05-17T18:37:46.833" v="116" actId="14100"/>
      <pc:docMkLst>
        <pc:docMk/>
      </pc:docMkLst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0" sldId="257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0" sldId="258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0" sldId="259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0" sldId="260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0" sldId="261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0" sldId="262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3209305554" sldId="2146848140"/>
        </pc:sldMkLst>
      </pc:sldChg>
      <pc:sldChg chg="modSp mod">
        <pc:chgData name="Pirone, Chiara" userId="d9d5b965-323f-43ee-9ca8-6b95d06dc7f9" providerId="ADAL" clId="{BCF8C3B6-BB8E-4457-8ABB-AABF3AF737FC}" dt="2022-05-17T18:09:02.039" v="1" actId="20577"/>
        <pc:sldMkLst>
          <pc:docMk/>
          <pc:sldMk cId="2721413444" sldId="2147375736"/>
        </pc:sldMkLst>
        <pc:spChg chg="mod">
          <ac:chgData name="Pirone, Chiara" userId="d9d5b965-323f-43ee-9ca8-6b95d06dc7f9" providerId="ADAL" clId="{BCF8C3B6-BB8E-4457-8ABB-AABF3AF737FC}" dt="2022-05-17T18:09:02.039" v="1" actId="20577"/>
          <ac:spMkLst>
            <pc:docMk/>
            <pc:sldMk cId="2721413444" sldId="2147375736"/>
            <ac:spMk id="129" creationId="{6E8FEBB2-401C-47BF-B073-3BF8DB0625C4}"/>
          </ac:spMkLst>
        </pc:spChg>
      </pc:sldChg>
      <pc:sldChg chg="del">
        <pc:chgData name="Pirone, Chiara" userId="d9d5b965-323f-43ee-9ca8-6b95d06dc7f9" providerId="ADAL" clId="{BCF8C3B6-BB8E-4457-8ABB-AABF3AF737FC}" dt="2022-05-17T18:37:16.706" v="106" actId="47"/>
        <pc:sldMkLst>
          <pc:docMk/>
          <pc:sldMk cId="3363024152" sldId="2147375862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2779323834" sldId="2147375864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1793334461" sldId="2147375865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3554308475" sldId="2147375866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1034318772" sldId="2147375869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3201226479" sldId="2147375870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3347875409" sldId="2147375871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1112513643" sldId="2147375883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3817626696" sldId="2147375884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95605179" sldId="2147375885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2864728152" sldId="2147375886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204564382" sldId="2147375887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538933072" sldId="2147375888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1934338107" sldId="2147375889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1993720889" sldId="2147375891"/>
        </pc:sldMkLst>
      </pc:sldChg>
      <pc:sldChg chg="del">
        <pc:chgData name="Pirone, Chiara" userId="d9d5b965-323f-43ee-9ca8-6b95d06dc7f9" providerId="ADAL" clId="{BCF8C3B6-BB8E-4457-8ABB-AABF3AF737FC}" dt="2022-05-17T16:31:21.836" v="0" actId="47"/>
        <pc:sldMkLst>
          <pc:docMk/>
          <pc:sldMk cId="0" sldId="2147375895"/>
        </pc:sldMkLst>
      </pc:sldChg>
      <pc:sldChg chg="addSp delSp modSp add mod">
        <pc:chgData name="Pirone, Chiara" userId="d9d5b965-323f-43ee-9ca8-6b95d06dc7f9" providerId="ADAL" clId="{BCF8C3B6-BB8E-4457-8ABB-AABF3AF737FC}" dt="2022-05-17T18:37:46.833" v="116" actId="14100"/>
        <pc:sldMkLst>
          <pc:docMk/>
          <pc:sldMk cId="3680349792" sldId="2147375899"/>
        </pc:sldMkLst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5" creationId="{00000000-0000-0000-0000-000000000000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6" creationId="{00000000-0000-0000-0000-000000000000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7" creationId="{00000000-0000-0000-0000-000000000000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8" creationId="{00000000-0000-0000-0000-000000000000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9" creationId="{00000000-0000-0000-0000-000000000000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14" creationId="{00000000-0000-0000-0000-000000000000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18" creationId="{00000000-0000-0000-0000-000000000000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22" creationId="{00000000-0000-0000-0000-000000000000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26" creationId="{00000000-0000-0000-0000-000000000000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32" creationId="{C5890AA2-9FA3-403A-9FE3-C296A2B9A301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35" creationId="{DF90CB3D-CFB3-420F-979A-48BF3BBE5FD1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46" creationId="{F1C1EE61-A7EC-47C4-8BA6-1D4671907B84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47" creationId="{51224818-813B-4F52-88C8-E056F184D33D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48" creationId="{04F70FFF-498C-4C7F-A7E5-2F1C2542337B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49" creationId="{9DD1EE7A-B8CF-4ADD-A377-FC4C6F31F0C4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50" creationId="{FF309D65-B3FA-4331-93A2-0365393D347B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51" creationId="{EB2304F5-E8D8-4C1C-B783-AA2BAD497737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52" creationId="{BB9CFCE0-0540-4E81-9541-86C44B6E537F}"/>
          </ac:spMkLst>
        </pc:spChg>
        <pc:spChg chg="mod">
          <ac:chgData name="Pirone, Chiara" userId="d9d5b965-323f-43ee-9ca8-6b95d06dc7f9" providerId="ADAL" clId="{BCF8C3B6-BB8E-4457-8ABB-AABF3AF737FC}" dt="2022-05-17T18:36:45.187" v="67" actId="1035"/>
          <ac:spMkLst>
            <pc:docMk/>
            <pc:sldMk cId="3680349792" sldId="2147375899"/>
            <ac:spMk id="53" creationId="{4B3BE96F-BFBD-4EFF-9E4B-F25BAC211E17}"/>
          </ac:spMkLst>
        </pc:spChg>
        <pc:spChg chg="del">
          <ac:chgData name="Pirone, Chiara" userId="d9d5b965-323f-43ee-9ca8-6b95d06dc7f9" providerId="ADAL" clId="{BCF8C3B6-BB8E-4457-8ABB-AABF3AF737FC}" dt="2022-05-17T18:35:43.231" v="6" actId="478"/>
          <ac:spMkLst>
            <pc:docMk/>
            <pc:sldMk cId="3680349792" sldId="2147375899"/>
            <ac:spMk id="120" creationId="{ECC5AF77-B51D-48D4-94F5-3825326DA390}"/>
          </ac:spMkLst>
        </pc:spChg>
        <pc:spChg chg="mod">
          <ac:chgData name="Pirone, Chiara" userId="d9d5b965-323f-43ee-9ca8-6b95d06dc7f9" providerId="ADAL" clId="{BCF8C3B6-BB8E-4457-8ABB-AABF3AF737FC}" dt="2022-05-17T18:37:46.833" v="116" actId="14100"/>
          <ac:spMkLst>
            <pc:docMk/>
            <pc:sldMk cId="3680349792" sldId="2147375899"/>
            <ac:spMk id="121" creationId="{56EDEAA1-AB06-47CA-B5EB-3D5104E5C6A9}"/>
          </ac:spMkLst>
        </pc:spChg>
        <pc:spChg chg="del">
          <ac:chgData name="Pirone, Chiara" userId="d9d5b965-323f-43ee-9ca8-6b95d06dc7f9" providerId="ADAL" clId="{BCF8C3B6-BB8E-4457-8ABB-AABF3AF737FC}" dt="2022-05-17T18:35:43.231" v="6" actId="478"/>
          <ac:spMkLst>
            <pc:docMk/>
            <pc:sldMk cId="3680349792" sldId="2147375899"/>
            <ac:spMk id="122" creationId="{5FAF021D-D231-47A4-AC07-AA97135676D8}"/>
          </ac:spMkLst>
        </pc:spChg>
        <pc:spChg chg="del mod">
          <ac:chgData name="Pirone, Chiara" userId="d9d5b965-323f-43ee-9ca8-6b95d06dc7f9" providerId="ADAL" clId="{BCF8C3B6-BB8E-4457-8ABB-AABF3AF737FC}" dt="2022-05-17T18:35:43.231" v="6" actId="478"/>
          <ac:spMkLst>
            <pc:docMk/>
            <pc:sldMk cId="3680349792" sldId="2147375899"/>
            <ac:spMk id="123" creationId="{29908ABE-C12C-4B2C-84E6-2FBDFABDB8B4}"/>
          </ac:spMkLst>
        </pc:spChg>
        <pc:spChg chg="mod">
          <ac:chgData name="Pirone, Chiara" userId="d9d5b965-323f-43ee-9ca8-6b95d06dc7f9" providerId="ADAL" clId="{BCF8C3B6-BB8E-4457-8ABB-AABF3AF737FC}" dt="2022-05-17T18:36:41.610" v="55" actId="1036"/>
          <ac:spMkLst>
            <pc:docMk/>
            <pc:sldMk cId="3680349792" sldId="2147375899"/>
            <ac:spMk id="128" creationId="{CBC0FB62-6383-4A1C-B117-7C6E5733CDA3}"/>
          </ac:spMkLst>
        </pc:spChg>
        <pc:grpChg chg="del">
          <ac:chgData name="Pirone, Chiara" userId="d9d5b965-323f-43ee-9ca8-6b95d06dc7f9" providerId="ADAL" clId="{BCF8C3B6-BB8E-4457-8ABB-AABF3AF737FC}" dt="2022-05-17T18:35:41.827" v="5" actId="478"/>
          <ac:grpSpMkLst>
            <pc:docMk/>
            <pc:sldMk cId="3680349792" sldId="2147375899"/>
            <ac:grpSpMk id="111" creationId="{1408E3FA-E4E5-4505-907B-2D3201478B3F}"/>
          </ac:grpSpMkLst>
        </pc:grpChg>
        <pc:graphicFrameChg chg="mod">
          <ac:chgData name="Pirone, Chiara" userId="d9d5b965-323f-43ee-9ca8-6b95d06dc7f9" providerId="ADAL" clId="{BCF8C3B6-BB8E-4457-8ABB-AABF3AF737FC}" dt="2022-05-17T18:35:22.666" v="3"/>
          <ac:graphicFrameMkLst>
            <pc:docMk/>
            <pc:sldMk cId="3680349792" sldId="2147375899"/>
            <ac:graphicFrameMk id="112" creationId="{206068FA-9564-4BEE-B276-EB860716558C}"/>
          </ac:graphicFrameMkLst>
        </pc:graphicFrameChg>
        <pc:picChg chg="add mod">
          <ac:chgData name="Pirone, Chiara" userId="d9d5b965-323f-43ee-9ca8-6b95d06dc7f9" providerId="ADAL" clId="{BCF8C3B6-BB8E-4457-8ABB-AABF3AF737FC}" dt="2022-05-17T18:37:42.850" v="115" actId="14100"/>
          <ac:picMkLst>
            <pc:docMk/>
            <pc:sldMk cId="3680349792" sldId="2147375899"/>
            <ac:picMk id="10" creationId="{C1DBF5F0-1A89-4E41-BB39-3FA96A24B931}"/>
          </ac:picMkLst>
        </pc:picChg>
        <pc:picChg chg="mod">
          <ac:chgData name="Pirone, Chiara" userId="d9d5b965-323f-43ee-9ca8-6b95d06dc7f9" providerId="ADAL" clId="{BCF8C3B6-BB8E-4457-8ABB-AABF3AF737FC}" dt="2022-05-17T18:36:45.187" v="67" actId="1035"/>
          <ac:picMkLst>
            <pc:docMk/>
            <pc:sldMk cId="3680349792" sldId="2147375899"/>
            <ac:picMk id="55" creationId="{9E2A46AB-D5FC-445A-8592-3F5338791C88}"/>
          </ac:picMkLst>
        </pc:picChg>
        <pc:picChg chg="mod">
          <ac:chgData name="Pirone, Chiara" userId="d9d5b965-323f-43ee-9ca8-6b95d06dc7f9" providerId="ADAL" clId="{BCF8C3B6-BB8E-4457-8ABB-AABF3AF737FC}" dt="2022-05-17T18:36:45.187" v="67" actId="1035"/>
          <ac:picMkLst>
            <pc:docMk/>
            <pc:sldMk cId="3680349792" sldId="2147375899"/>
            <ac:picMk id="56" creationId="{344B42B2-FB07-4A6E-818F-18736BA1D2C3}"/>
          </ac:picMkLst>
        </pc:picChg>
        <pc:picChg chg="mod">
          <ac:chgData name="Pirone, Chiara" userId="d9d5b965-323f-43ee-9ca8-6b95d06dc7f9" providerId="ADAL" clId="{BCF8C3B6-BB8E-4457-8ABB-AABF3AF737FC}" dt="2022-05-17T18:36:45.187" v="67" actId="1035"/>
          <ac:picMkLst>
            <pc:docMk/>
            <pc:sldMk cId="3680349792" sldId="2147375899"/>
            <ac:picMk id="57" creationId="{37AE1B0E-265A-48E9-972B-5BFB4DF0A966}"/>
          </ac:picMkLst>
        </pc:picChg>
        <pc:picChg chg="mod">
          <ac:chgData name="Pirone, Chiara" userId="d9d5b965-323f-43ee-9ca8-6b95d06dc7f9" providerId="ADAL" clId="{BCF8C3B6-BB8E-4457-8ABB-AABF3AF737FC}" dt="2022-05-17T18:36:45.187" v="67" actId="1035"/>
          <ac:picMkLst>
            <pc:docMk/>
            <pc:sldMk cId="3680349792" sldId="2147375899"/>
            <ac:picMk id="58" creationId="{F723ED65-CA35-4213-A6F3-FD3D2BB6A9E9}"/>
          </ac:picMkLst>
        </pc:picChg>
        <pc:picChg chg="mod">
          <ac:chgData name="Pirone, Chiara" userId="d9d5b965-323f-43ee-9ca8-6b95d06dc7f9" providerId="ADAL" clId="{BCF8C3B6-BB8E-4457-8ABB-AABF3AF737FC}" dt="2022-05-17T18:36:45.187" v="67" actId="1035"/>
          <ac:picMkLst>
            <pc:docMk/>
            <pc:sldMk cId="3680349792" sldId="2147375899"/>
            <ac:picMk id="59" creationId="{1F74F82D-88DA-4B8E-948E-5B50AA76B0D9}"/>
          </ac:picMkLst>
        </pc:picChg>
        <pc:picChg chg="mod">
          <ac:chgData name="Pirone, Chiara" userId="d9d5b965-323f-43ee-9ca8-6b95d06dc7f9" providerId="ADAL" clId="{BCF8C3B6-BB8E-4457-8ABB-AABF3AF737FC}" dt="2022-05-17T18:36:45.187" v="67" actId="1035"/>
          <ac:picMkLst>
            <pc:docMk/>
            <pc:sldMk cId="3680349792" sldId="2147375899"/>
            <ac:picMk id="60" creationId="{02067C2C-7477-4F45-99BF-31A8A65A5C72}"/>
          </ac:picMkLst>
        </pc:picChg>
        <pc:picChg chg="del">
          <ac:chgData name="Pirone, Chiara" userId="d9d5b965-323f-43ee-9ca8-6b95d06dc7f9" providerId="ADAL" clId="{BCF8C3B6-BB8E-4457-8ABB-AABF3AF737FC}" dt="2022-05-17T18:35:43.231" v="6" actId="478"/>
          <ac:picMkLst>
            <pc:docMk/>
            <pc:sldMk cId="3680349792" sldId="2147375899"/>
            <ac:picMk id="124" creationId="{EB092266-89A3-41B9-A29C-17E1D4E1BD1F}"/>
          </ac:picMkLst>
        </pc:picChg>
      </pc:sldChg>
      <pc:sldMasterChg chg="delSldLayout">
        <pc:chgData name="Pirone, Chiara" userId="d9d5b965-323f-43ee-9ca8-6b95d06dc7f9" providerId="ADAL" clId="{BCF8C3B6-BB8E-4457-8ABB-AABF3AF737FC}" dt="2022-05-17T16:31:21.836" v="0" actId="47"/>
        <pc:sldMasterMkLst>
          <pc:docMk/>
          <pc:sldMasterMk cId="1260625494" sldId="2147483738"/>
        </pc:sldMasterMkLst>
        <pc:sldLayoutChg chg="del">
          <pc:chgData name="Pirone, Chiara" userId="d9d5b965-323f-43ee-9ca8-6b95d06dc7f9" providerId="ADAL" clId="{BCF8C3B6-BB8E-4457-8ABB-AABF3AF737FC}" dt="2022-05-17T16:31:21.836" v="0" actId="47"/>
          <pc:sldLayoutMkLst>
            <pc:docMk/>
            <pc:sldMasterMk cId="1260625494" sldId="2147483738"/>
            <pc:sldLayoutMk cId="3785399861" sldId="2147483750"/>
          </pc:sldLayoutMkLst>
        </pc:sldLayoutChg>
      </pc:sldMasterChg>
    </pc:docChg>
  </pc:docChgLst>
  <pc:docChgLst>
    <pc:chgData name="Pirone, Chiara" userId="d9d5b965-323f-43ee-9ca8-6b95d06dc7f9" providerId="ADAL" clId="{10EABFE6-F8DB-4FD8-9916-27744534C088}"/>
    <pc:docChg chg="custSel modSld">
      <pc:chgData name="Pirone, Chiara" userId="d9d5b965-323f-43ee-9ca8-6b95d06dc7f9" providerId="ADAL" clId="{10EABFE6-F8DB-4FD8-9916-27744534C088}" dt="2022-03-04T17:33:34.541" v="116" actId="20577"/>
      <pc:docMkLst>
        <pc:docMk/>
      </pc:docMkLst>
      <pc:sldChg chg="modNotesTx">
        <pc:chgData name="Pirone, Chiara" userId="d9d5b965-323f-43ee-9ca8-6b95d06dc7f9" providerId="ADAL" clId="{10EABFE6-F8DB-4FD8-9916-27744534C088}" dt="2022-03-04T17:33:34.541" v="116" actId="20577"/>
        <pc:sldMkLst>
          <pc:docMk/>
          <pc:sldMk cId="3785000901" sldId="2147375232"/>
        </pc:sldMkLst>
      </pc:sldChg>
    </pc:docChg>
  </pc:docChgLst>
  <pc:docChgLst>
    <pc:chgData name="Valentina Taglialatela" userId="02ce2114-6969-4112-89e8-fb8fdda16af0" providerId="ADAL" clId="{D462CAC9-EDB7-4675-BF37-FBF6F784BBD1}"/>
    <pc:docChg chg="modSld sldOrd">
      <pc:chgData name="Valentina Taglialatela" userId="02ce2114-6969-4112-89e8-fb8fdda16af0" providerId="ADAL" clId="{D462CAC9-EDB7-4675-BF37-FBF6F784BBD1}" dt="2021-09-15T11:07:19.007" v="1"/>
      <pc:docMkLst>
        <pc:docMk/>
      </pc:docMkLst>
      <pc:sldChg chg="ord">
        <pc:chgData name="Valentina Taglialatela" userId="02ce2114-6969-4112-89e8-fb8fdda16af0" providerId="ADAL" clId="{D462CAC9-EDB7-4675-BF37-FBF6F784BBD1}" dt="2021-09-15T11:07:19.007" v="1"/>
        <pc:sldMkLst>
          <pc:docMk/>
          <pc:sldMk cId="2322149722" sldId="2147375238"/>
        </pc:sldMkLst>
      </pc:sldChg>
    </pc:docChg>
  </pc:docChgLst>
  <pc:docChgLst>
    <pc:chgData name="Pirone, Chiara" userId="d9d5b965-323f-43ee-9ca8-6b95d06dc7f9" providerId="ADAL" clId="{EEA06CB2-82F2-4ED8-9229-4AD4686F732E}"/>
    <pc:docChg chg="undo redo custSel addSld delSld modSld sldOrd delMainMaster modMainMaster addSection delSection modSection">
      <pc:chgData name="Pirone, Chiara" userId="d9d5b965-323f-43ee-9ca8-6b95d06dc7f9" providerId="ADAL" clId="{EEA06CB2-82F2-4ED8-9229-4AD4686F732E}" dt="2022-05-17T16:26:13.741" v="13468" actId="14100"/>
      <pc:docMkLst>
        <pc:docMk/>
      </pc:docMkLst>
      <pc:sldChg chg="addSp delSp modSp add del mod setBg">
        <pc:chgData name="Pirone, Chiara" userId="d9d5b965-323f-43ee-9ca8-6b95d06dc7f9" providerId="ADAL" clId="{EEA06CB2-82F2-4ED8-9229-4AD4686F732E}" dt="2022-05-17T14:05:04.019" v="8586" actId="13926"/>
        <pc:sldMkLst>
          <pc:docMk/>
          <pc:sldMk cId="0" sldId="256"/>
        </pc:sldMkLst>
        <pc:spChg chg="del mod">
          <ac:chgData name="Pirone, Chiara" userId="d9d5b965-323f-43ee-9ca8-6b95d06dc7f9" providerId="ADAL" clId="{EEA06CB2-82F2-4ED8-9229-4AD4686F732E}" dt="2022-05-17T10:54:17.181" v="7130" actId="478"/>
          <ac:spMkLst>
            <pc:docMk/>
            <pc:sldMk cId="0" sldId="256"/>
            <ac:spMk id="2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4:03:21.289" v="8505" actId="1037"/>
          <ac:spMkLst>
            <pc:docMk/>
            <pc:sldMk cId="0" sldId="256"/>
            <ac:spMk id="4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4:04:10.168" v="8580" actId="1038"/>
          <ac:spMkLst>
            <pc:docMk/>
            <pc:sldMk cId="0" sldId="256"/>
            <ac:spMk id="6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4:04:03.999" v="8573" actId="1038"/>
          <ac:spMkLst>
            <pc:docMk/>
            <pc:sldMk cId="0" sldId="256"/>
            <ac:spMk id="8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4:04:01.670" v="8570" actId="1038"/>
          <ac:spMkLst>
            <pc:docMk/>
            <pc:sldMk cId="0" sldId="256"/>
            <ac:spMk id="10" creationId="{00000000-0000-0000-0000-000000000000}"/>
          </ac:spMkLst>
        </pc:spChg>
        <pc:spChg chg="del mod topLvl">
          <ac:chgData name="Pirone, Chiara" userId="d9d5b965-323f-43ee-9ca8-6b95d06dc7f9" providerId="ADAL" clId="{EEA06CB2-82F2-4ED8-9229-4AD4686F732E}" dt="2022-05-17T10:21:15.518" v="6517" actId="478"/>
          <ac:spMkLst>
            <pc:docMk/>
            <pc:sldMk cId="0" sldId="256"/>
            <ac:spMk id="12" creationId="{00000000-0000-0000-0000-000000000000}"/>
          </ac:spMkLst>
        </pc:spChg>
        <pc:spChg chg="mod topLvl">
          <ac:chgData name="Pirone, Chiara" userId="d9d5b965-323f-43ee-9ca8-6b95d06dc7f9" providerId="ADAL" clId="{EEA06CB2-82F2-4ED8-9229-4AD4686F732E}" dt="2022-05-17T14:03:21.289" v="8505" actId="1037"/>
          <ac:spMkLst>
            <pc:docMk/>
            <pc:sldMk cId="0" sldId="256"/>
            <ac:spMk id="13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0:02:49.121" v="5940" actId="2711"/>
          <ac:spMkLst>
            <pc:docMk/>
            <pc:sldMk cId="0" sldId="256"/>
            <ac:spMk id="15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0:02:49.121" v="5940" actId="2711"/>
          <ac:spMkLst>
            <pc:docMk/>
            <pc:sldMk cId="0" sldId="256"/>
            <ac:spMk id="16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0:02:49.121" v="5940" actId="2711"/>
          <ac:spMkLst>
            <pc:docMk/>
            <pc:sldMk cId="0" sldId="256"/>
            <ac:spMk id="18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0:02:49.121" v="5940" actId="2711"/>
          <ac:spMkLst>
            <pc:docMk/>
            <pc:sldMk cId="0" sldId="256"/>
            <ac:spMk id="19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0:02:49.121" v="5940" actId="2711"/>
          <ac:spMkLst>
            <pc:docMk/>
            <pc:sldMk cId="0" sldId="256"/>
            <ac:spMk id="21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0:02:49.121" v="5940" actId="2711"/>
          <ac:spMkLst>
            <pc:docMk/>
            <pc:sldMk cId="0" sldId="256"/>
            <ac:spMk id="22" creationId="{00000000-0000-0000-0000-000000000000}"/>
          </ac:spMkLst>
        </pc:spChg>
        <pc:spChg chg="del mod">
          <ac:chgData name="Pirone, Chiara" userId="d9d5b965-323f-43ee-9ca8-6b95d06dc7f9" providerId="ADAL" clId="{EEA06CB2-82F2-4ED8-9229-4AD4686F732E}" dt="2022-05-17T10:03:04.295" v="5944" actId="478"/>
          <ac:spMkLst>
            <pc:docMk/>
            <pc:sldMk cId="0" sldId="256"/>
            <ac:spMk id="23" creationId="{00000000-0000-0000-0000-000000000000}"/>
          </ac:spMkLst>
        </pc:spChg>
        <pc:spChg chg="del mod topLvl">
          <ac:chgData name="Pirone, Chiara" userId="d9d5b965-323f-43ee-9ca8-6b95d06dc7f9" providerId="ADAL" clId="{EEA06CB2-82F2-4ED8-9229-4AD4686F732E}" dt="2022-05-17T10:46:25.941" v="6973" actId="478"/>
          <ac:spMkLst>
            <pc:docMk/>
            <pc:sldMk cId="0" sldId="256"/>
            <ac:spMk id="24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0:14:42.647" v="6451" actId="1035"/>
          <ac:spMkLst>
            <pc:docMk/>
            <pc:sldMk cId="0" sldId="256"/>
            <ac:spMk id="35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0:14:42.647" v="6451" actId="1035"/>
          <ac:spMkLst>
            <pc:docMk/>
            <pc:sldMk cId="0" sldId="256"/>
            <ac:spMk id="39" creationId="{00000000-0000-0000-0000-000000000000}"/>
          </ac:spMkLst>
        </pc:spChg>
        <pc:spChg chg="add del mod">
          <ac:chgData name="Pirone, Chiara" userId="d9d5b965-323f-43ee-9ca8-6b95d06dc7f9" providerId="ADAL" clId="{EEA06CB2-82F2-4ED8-9229-4AD4686F732E}" dt="2022-05-17T10:03:26.903" v="5950" actId="478"/>
          <ac:spMkLst>
            <pc:docMk/>
            <pc:sldMk cId="0" sldId="256"/>
            <ac:spMk id="41" creationId="{5CE72706-D387-4C95-B6EF-593F072CA0A7}"/>
          </ac:spMkLst>
        </pc:spChg>
        <pc:spChg chg="mod">
          <ac:chgData name="Pirone, Chiara" userId="d9d5b965-323f-43ee-9ca8-6b95d06dc7f9" providerId="ADAL" clId="{EEA06CB2-82F2-4ED8-9229-4AD4686F732E}" dt="2022-05-17T10:03:43.180" v="5987" actId="571"/>
          <ac:spMkLst>
            <pc:docMk/>
            <pc:sldMk cId="0" sldId="256"/>
            <ac:spMk id="43" creationId="{B8A80251-8DB5-45F6-8E60-F6ECC314B17D}"/>
          </ac:spMkLst>
        </pc:spChg>
        <pc:spChg chg="mod">
          <ac:chgData name="Pirone, Chiara" userId="d9d5b965-323f-43ee-9ca8-6b95d06dc7f9" providerId="ADAL" clId="{EEA06CB2-82F2-4ED8-9229-4AD4686F732E}" dt="2022-05-17T10:03:43.180" v="5987" actId="571"/>
          <ac:spMkLst>
            <pc:docMk/>
            <pc:sldMk cId="0" sldId="256"/>
            <ac:spMk id="45" creationId="{E63B6128-91EF-4B13-8E05-0D0A4C94BFBE}"/>
          </ac:spMkLst>
        </pc:spChg>
        <pc:spChg chg="mod">
          <ac:chgData name="Pirone, Chiara" userId="d9d5b965-323f-43ee-9ca8-6b95d06dc7f9" providerId="ADAL" clId="{EEA06CB2-82F2-4ED8-9229-4AD4686F732E}" dt="2022-05-17T10:03:43.180" v="5987" actId="571"/>
          <ac:spMkLst>
            <pc:docMk/>
            <pc:sldMk cId="0" sldId="256"/>
            <ac:spMk id="47" creationId="{044216AD-7401-4C95-A28E-401CF2172E99}"/>
          </ac:spMkLst>
        </pc:spChg>
        <pc:spChg chg="mod">
          <ac:chgData name="Pirone, Chiara" userId="d9d5b965-323f-43ee-9ca8-6b95d06dc7f9" providerId="ADAL" clId="{EEA06CB2-82F2-4ED8-9229-4AD4686F732E}" dt="2022-05-17T14:03:48.314" v="8551" actId="1038"/>
          <ac:spMkLst>
            <pc:docMk/>
            <pc:sldMk cId="0" sldId="256"/>
            <ac:spMk id="49" creationId="{79D3C30D-B067-4BC0-8F6C-41CF5BE9AF0C}"/>
          </ac:spMkLst>
        </pc:spChg>
        <pc:spChg chg="mod">
          <ac:chgData name="Pirone, Chiara" userId="d9d5b965-323f-43ee-9ca8-6b95d06dc7f9" providerId="ADAL" clId="{EEA06CB2-82F2-4ED8-9229-4AD4686F732E}" dt="2022-05-17T10:14:42.647" v="6451" actId="1035"/>
          <ac:spMkLst>
            <pc:docMk/>
            <pc:sldMk cId="0" sldId="256"/>
            <ac:spMk id="53" creationId="{73687C0D-77A9-4B6A-B87B-8B9211558780}"/>
          </ac:spMkLst>
        </pc:spChg>
        <pc:spChg chg="add del mod topLvl">
          <ac:chgData name="Pirone, Chiara" userId="d9d5b965-323f-43ee-9ca8-6b95d06dc7f9" providerId="ADAL" clId="{EEA06CB2-82F2-4ED8-9229-4AD4686F732E}" dt="2022-05-17T14:03:31.104" v="8520" actId="1038"/>
          <ac:spMkLst>
            <pc:docMk/>
            <pc:sldMk cId="0" sldId="256"/>
            <ac:spMk id="55" creationId="{5CA4E047-A4BF-418E-A898-65CB5AC64E00}"/>
          </ac:spMkLst>
        </pc:spChg>
        <pc:spChg chg="mod">
          <ac:chgData name="Pirone, Chiara" userId="d9d5b965-323f-43ee-9ca8-6b95d06dc7f9" providerId="ADAL" clId="{EEA06CB2-82F2-4ED8-9229-4AD4686F732E}" dt="2022-05-17T10:14:42.647" v="6451" actId="1035"/>
          <ac:spMkLst>
            <pc:docMk/>
            <pc:sldMk cId="0" sldId="256"/>
            <ac:spMk id="59" creationId="{DFE4788F-8F56-4E40-9D72-D341F20AB8F9}"/>
          </ac:spMkLst>
        </pc:spChg>
        <pc:spChg chg="add mod">
          <ac:chgData name="Pirone, Chiara" userId="d9d5b965-323f-43ee-9ca8-6b95d06dc7f9" providerId="ADAL" clId="{EEA06CB2-82F2-4ED8-9229-4AD4686F732E}" dt="2022-05-17T14:04:10.168" v="8580" actId="1038"/>
          <ac:spMkLst>
            <pc:docMk/>
            <pc:sldMk cId="0" sldId="256"/>
            <ac:spMk id="60" creationId="{C1FF778F-1C81-4634-B4C7-BF5BC94AB980}"/>
          </ac:spMkLst>
        </pc:spChg>
        <pc:spChg chg="add mod">
          <ac:chgData name="Pirone, Chiara" userId="d9d5b965-323f-43ee-9ca8-6b95d06dc7f9" providerId="ADAL" clId="{EEA06CB2-82F2-4ED8-9229-4AD4686F732E}" dt="2022-05-17T14:04:10.168" v="8580" actId="1038"/>
          <ac:spMkLst>
            <pc:docMk/>
            <pc:sldMk cId="0" sldId="256"/>
            <ac:spMk id="61" creationId="{8312B74E-D9B9-4644-9BB2-9F62CF4567B2}"/>
          </ac:spMkLst>
        </pc:spChg>
        <pc:spChg chg="add mod">
          <ac:chgData name="Pirone, Chiara" userId="d9d5b965-323f-43ee-9ca8-6b95d06dc7f9" providerId="ADAL" clId="{EEA06CB2-82F2-4ED8-9229-4AD4686F732E}" dt="2022-05-17T14:04:03.999" v="8573" actId="1038"/>
          <ac:spMkLst>
            <pc:docMk/>
            <pc:sldMk cId="0" sldId="256"/>
            <ac:spMk id="62" creationId="{E99C1C96-6DF5-4604-B22C-E417377A58FD}"/>
          </ac:spMkLst>
        </pc:spChg>
        <pc:spChg chg="add mod">
          <ac:chgData name="Pirone, Chiara" userId="d9d5b965-323f-43ee-9ca8-6b95d06dc7f9" providerId="ADAL" clId="{EEA06CB2-82F2-4ED8-9229-4AD4686F732E}" dt="2022-05-17T14:05:04.019" v="8586" actId="13926"/>
          <ac:spMkLst>
            <pc:docMk/>
            <pc:sldMk cId="0" sldId="256"/>
            <ac:spMk id="63" creationId="{EA9899E2-32CE-41C6-831D-C0F439D80F01}"/>
          </ac:spMkLst>
        </pc:spChg>
        <pc:spChg chg="mod">
          <ac:chgData name="Pirone, Chiara" userId="d9d5b965-323f-43ee-9ca8-6b95d06dc7f9" providerId="ADAL" clId="{EEA06CB2-82F2-4ED8-9229-4AD4686F732E}" dt="2022-05-17T10:28:45.788" v="6680" actId="1037"/>
          <ac:spMkLst>
            <pc:docMk/>
            <pc:sldMk cId="0" sldId="256"/>
            <ac:spMk id="68" creationId="{7A9E2DB5-7776-4FE6-9DAB-1EDA866C9E35}"/>
          </ac:spMkLst>
        </pc:spChg>
        <pc:spChg chg="mod">
          <ac:chgData name="Pirone, Chiara" userId="d9d5b965-323f-43ee-9ca8-6b95d06dc7f9" providerId="ADAL" clId="{EEA06CB2-82F2-4ED8-9229-4AD4686F732E}" dt="2022-05-17T10:28:51.017" v="6687" actId="1037"/>
          <ac:spMkLst>
            <pc:docMk/>
            <pc:sldMk cId="0" sldId="256"/>
            <ac:spMk id="73" creationId="{3A4BD4C6-FAAB-4061-8261-EB9C67E54FCA}"/>
          </ac:spMkLst>
        </pc:spChg>
        <pc:spChg chg="mod">
          <ac:chgData name="Pirone, Chiara" userId="d9d5b965-323f-43ee-9ca8-6b95d06dc7f9" providerId="ADAL" clId="{EEA06CB2-82F2-4ED8-9229-4AD4686F732E}" dt="2022-05-17T10:14:33.918" v="6437"/>
          <ac:spMkLst>
            <pc:docMk/>
            <pc:sldMk cId="0" sldId="256"/>
            <ac:spMk id="77" creationId="{8C65A936-7279-42ED-BA88-42A85B281CA3}"/>
          </ac:spMkLst>
        </pc:spChg>
        <pc:spChg chg="mod">
          <ac:chgData name="Pirone, Chiara" userId="d9d5b965-323f-43ee-9ca8-6b95d06dc7f9" providerId="ADAL" clId="{EEA06CB2-82F2-4ED8-9229-4AD4686F732E}" dt="2022-05-17T10:28:54.226" v="6691" actId="1037"/>
          <ac:spMkLst>
            <pc:docMk/>
            <pc:sldMk cId="0" sldId="256"/>
            <ac:spMk id="82" creationId="{4E61CB4C-7F8B-49BD-83D0-2693893A5EF5}"/>
          </ac:spMkLst>
        </pc:spChg>
        <pc:spChg chg="mod">
          <ac:chgData name="Pirone, Chiara" userId="d9d5b965-323f-43ee-9ca8-6b95d06dc7f9" providerId="ADAL" clId="{EEA06CB2-82F2-4ED8-9229-4AD4686F732E}" dt="2022-05-17T10:28:57.906" v="6695" actId="1037"/>
          <ac:spMkLst>
            <pc:docMk/>
            <pc:sldMk cId="0" sldId="256"/>
            <ac:spMk id="87" creationId="{CA0D7754-1368-413B-ADB6-4AD341819B29}"/>
          </ac:spMkLst>
        </pc:spChg>
        <pc:spChg chg="mod">
          <ac:chgData name="Pirone, Chiara" userId="d9d5b965-323f-43ee-9ca8-6b95d06dc7f9" providerId="ADAL" clId="{EEA06CB2-82F2-4ED8-9229-4AD4686F732E}" dt="2022-05-17T10:28:40.012" v="6677" actId="1037"/>
          <ac:spMkLst>
            <pc:docMk/>
            <pc:sldMk cId="0" sldId="256"/>
            <ac:spMk id="92" creationId="{39F21FF1-B829-490D-A2AC-25383CD28227}"/>
          </ac:spMkLst>
        </pc:spChg>
        <pc:spChg chg="mod">
          <ac:chgData name="Pirone, Chiara" userId="d9d5b965-323f-43ee-9ca8-6b95d06dc7f9" providerId="ADAL" clId="{EEA06CB2-82F2-4ED8-9229-4AD4686F732E}" dt="2022-05-17T10:23:06.717" v="6652" actId="1038"/>
          <ac:spMkLst>
            <pc:docMk/>
            <pc:sldMk cId="0" sldId="256"/>
            <ac:spMk id="97" creationId="{5C91278B-64A3-4035-9B29-7C82EC716098}"/>
          </ac:spMkLst>
        </pc:spChg>
        <pc:spChg chg="add mod">
          <ac:chgData name="Pirone, Chiara" userId="d9d5b965-323f-43ee-9ca8-6b95d06dc7f9" providerId="ADAL" clId="{EEA06CB2-82F2-4ED8-9229-4AD4686F732E}" dt="2022-05-17T14:03:21.289" v="8505" actId="1037"/>
          <ac:spMkLst>
            <pc:docMk/>
            <pc:sldMk cId="0" sldId="256"/>
            <ac:spMk id="98" creationId="{2B086A9D-6159-4279-B667-0420272BC615}"/>
          </ac:spMkLst>
        </pc:spChg>
        <pc:spChg chg="add mod">
          <ac:chgData name="Pirone, Chiara" userId="d9d5b965-323f-43ee-9ca8-6b95d06dc7f9" providerId="ADAL" clId="{EEA06CB2-82F2-4ED8-9229-4AD4686F732E}" dt="2022-05-17T14:04:01.670" v="8570" actId="1038"/>
          <ac:spMkLst>
            <pc:docMk/>
            <pc:sldMk cId="0" sldId="256"/>
            <ac:spMk id="99" creationId="{B508C757-E0C9-4FB0-935F-0D4D897401CF}"/>
          </ac:spMkLst>
        </pc:spChg>
        <pc:spChg chg="add mod">
          <ac:chgData name="Pirone, Chiara" userId="d9d5b965-323f-43ee-9ca8-6b95d06dc7f9" providerId="ADAL" clId="{EEA06CB2-82F2-4ED8-9229-4AD4686F732E}" dt="2022-05-17T14:04:01.670" v="8570" actId="1038"/>
          <ac:spMkLst>
            <pc:docMk/>
            <pc:sldMk cId="0" sldId="256"/>
            <ac:spMk id="100" creationId="{019F9EDD-6F13-42A7-B974-529C5BDAA064}"/>
          </ac:spMkLst>
        </pc:spChg>
        <pc:spChg chg="add mod">
          <ac:chgData name="Pirone, Chiara" userId="d9d5b965-323f-43ee-9ca8-6b95d06dc7f9" providerId="ADAL" clId="{EEA06CB2-82F2-4ED8-9229-4AD4686F732E}" dt="2022-05-17T14:03:48.314" v="8551" actId="1038"/>
          <ac:spMkLst>
            <pc:docMk/>
            <pc:sldMk cId="0" sldId="256"/>
            <ac:spMk id="101" creationId="{4BA69AC9-67E5-4306-8952-1DD0E465568D}"/>
          </ac:spMkLst>
        </pc:spChg>
        <pc:spChg chg="add mod">
          <ac:chgData name="Pirone, Chiara" userId="d9d5b965-323f-43ee-9ca8-6b95d06dc7f9" providerId="ADAL" clId="{EEA06CB2-82F2-4ED8-9229-4AD4686F732E}" dt="2022-05-17T14:03:48.314" v="8551" actId="1038"/>
          <ac:spMkLst>
            <pc:docMk/>
            <pc:sldMk cId="0" sldId="256"/>
            <ac:spMk id="102" creationId="{18E076B5-707C-4C6A-B29A-7A84CF746196}"/>
          </ac:spMkLst>
        </pc:spChg>
        <pc:spChg chg="add mod">
          <ac:chgData name="Pirone, Chiara" userId="d9d5b965-323f-43ee-9ca8-6b95d06dc7f9" providerId="ADAL" clId="{EEA06CB2-82F2-4ED8-9229-4AD4686F732E}" dt="2022-05-17T14:03:31.104" v="8520" actId="1038"/>
          <ac:spMkLst>
            <pc:docMk/>
            <pc:sldMk cId="0" sldId="256"/>
            <ac:spMk id="103" creationId="{45BAE522-2E58-4C1E-8BFA-226052CD5045}"/>
          </ac:spMkLst>
        </pc:spChg>
        <pc:spChg chg="add mod">
          <ac:chgData name="Pirone, Chiara" userId="d9d5b965-323f-43ee-9ca8-6b95d06dc7f9" providerId="ADAL" clId="{EEA06CB2-82F2-4ED8-9229-4AD4686F732E}" dt="2022-05-17T14:03:31.104" v="8520" actId="1038"/>
          <ac:spMkLst>
            <pc:docMk/>
            <pc:sldMk cId="0" sldId="256"/>
            <ac:spMk id="104" creationId="{11029ADD-DB9E-4FFF-8696-4881EC094A6F}"/>
          </ac:spMkLst>
        </pc:spChg>
        <pc:spChg chg="add del mod ord">
          <ac:chgData name="Pirone, Chiara" userId="d9d5b965-323f-43ee-9ca8-6b95d06dc7f9" providerId="ADAL" clId="{EEA06CB2-82F2-4ED8-9229-4AD4686F732E}" dt="2022-05-17T10:54:02.961" v="7127" actId="478"/>
          <ac:spMkLst>
            <pc:docMk/>
            <pc:sldMk cId="0" sldId="256"/>
            <ac:spMk id="114" creationId="{76013DE3-9184-40C8-B683-546F50FCFC0B}"/>
          </ac:spMkLst>
        </pc:spChg>
        <pc:spChg chg="add mod">
          <ac:chgData name="Pirone, Chiara" userId="d9d5b965-323f-43ee-9ca8-6b95d06dc7f9" providerId="ADAL" clId="{EEA06CB2-82F2-4ED8-9229-4AD4686F732E}" dt="2022-05-17T10:54:17.942" v="7131"/>
          <ac:spMkLst>
            <pc:docMk/>
            <pc:sldMk cId="0" sldId="256"/>
            <ac:spMk id="116" creationId="{552A35E4-4D21-4E70-A7CF-2A0258D5F933}"/>
          </ac:spMkLst>
        </pc:spChg>
        <pc:spChg chg="add mod">
          <ac:chgData name="Pirone, Chiara" userId="d9d5b965-323f-43ee-9ca8-6b95d06dc7f9" providerId="ADAL" clId="{EEA06CB2-82F2-4ED8-9229-4AD4686F732E}" dt="2022-05-17T10:54:25.630" v="7157" actId="20577"/>
          <ac:spMkLst>
            <pc:docMk/>
            <pc:sldMk cId="0" sldId="256"/>
            <ac:spMk id="118" creationId="{939D5072-284A-4302-97EB-A855482C999A}"/>
          </ac:spMkLst>
        </pc:spChg>
        <pc:grpChg chg="mod">
          <ac:chgData name="Pirone, Chiara" userId="d9d5b965-323f-43ee-9ca8-6b95d06dc7f9" providerId="ADAL" clId="{EEA06CB2-82F2-4ED8-9229-4AD4686F732E}" dt="2022-05-17T14:03:21.289" v="8505" actId="1037"/>
          <ac:grpSpMkLst>
            <pc:docMk/>
            <pc:sldMk cId="0" sldId="256"/>
            <ac:grpSpMk id="3" creationId="{00000000-0000-0000-0000-000000000000}"/>
          </ac:grpSpMkLst>
        </pc:grpChg>
        <pc:grpChg chg="mod">
          <ac:chgData name="Pirone, Chiara" userId="d9d5b965-323f-43ee-9ca8-6b95d06dc7f9" providerId="ADAL" clId="{EEA06CB2-82F2-4ED8-9229-4AD4686F732E}" dt="2022-05-17T14:04:10.168" v="8580" actId="1038"/>
          <ac:grpSpMkLst>
            <pc:docMk/>
            <pc:sldMk cId="0" sldId="256"/>
            <ac:grpSpMk id="5" creationId="{00000000-0000-0000-0000-000000000000}"/>
          </ac:grpSpMkLst>
        </pc:grpChg>
        <pc:grpChg chg="mod">
          <ac:chgData name="Pirone, Chiara" userId="d9d5b965-323f-43ee-9ca8-6b95d06dc7f9" providerId="ADAL" clId="{EEA06CB2-82F2-4ED8-9229-4AD4686F732E}" dt="2022-05-17T14:04:03.999" v="8573" actId="1038"/>
          <ac:grpSpMkLst>
            <pc:docMk/>
            <pc:sldMk cId="0" sldId="256"/>
            <ac:grpSpMk id="7" creationId="{00000000-0000-0000-0000-000000000000}"/>
          </ac:grpSpMkLst>
        </pc:grpChg>
        <pc:grpChg chg="mod">
          <ac:chgData name="Pirone, Chiara" userId="d9d5b965-323f-43ee-9ca8-6b95d06dc7f9" providerId="ADAL" clId="{EEA06CB2-82F2-4ED8-9229-4AD4686F732E}" dt="2022-05-17T14:04:01.670" v="8570" actId="1038"/>
          <ac:grpSpMkLst>
            <pc:docMk/>
            <pc:sldMk cId="0" sldId="256"/>
            <ac:grpSpMk id="9" creationId="{00000000-0000-0000-0000-000000000000}"/>
          </ac:grpSpMkLst>
        </pc:grpChg>
        <pc:grpChg chg="del mod">
          <ac:chgData name="Pirone, Chiara" userId="d9d5b965-323f-43ee-9ca8-6b95d06dc7f9" providerId="ADAL" clId="{EEA06CB2-82F2-4ED8-9229-4AD4686F732E}" dt="2022-05-17T10:05:38.698" v="6284" actId="165"/>
          <ac:grpSpMkLst>
            <pc:docMk/>
            <pc:sldMk cId="0" sldId="256"/>
            <ac:grpSpMk id="11" creationId="{00000000-0000-0000-0000-000000000000}"/>
          </ac:grpSpMkLst>
        </pc:grpChg>
        <pc:grpChg chg="del">
          <ac:chgData name="Pirone, Chiara" userId="d9d5b965-323f-43ee-9ca8-6b95d06dc7f9" providerId="ADAL" clId="{EEA06CB2-82F2-4ED8-9229-4AD4686F732E}" dt="2022-05-17T10:03:40.549" v="5985" actId="478"/>
          <ac:grpSpMkLst>
            <pc:docMk/>
            <pc:sldMk cId="0" sldId="256"/>
            <ac:grpSpMk id="14" creationId="{00000000-0000-0000-0000-000000000000}"/>
          </ac:grpSpMkLst>
        </pc:grpChg>
        <pc:grpChg chg="del">
          <ac:chgData name="Pirone, Chiara" userId="d9d5b965-323f-43ee-9ca8-6b95d06dc7f9" providerId="ADAL" clId="{EEA06CB2-82F2-4ED8-9229-4AD4686F732E}" dt="2022-05-17T10:03:40.549" v="5985" actId="478"/>
          <ac:grpSpMkLst>
            <pc:docMk/>
            <pc:sldMk cId="0" sldId="256"/>
            <ac:grpSpMk id="17" creationId="{00000000-0000-0000-0000-000000000000}"/>
          </ac:grpSpMkLst>
        </pc:grpChg>
        <pc:grpChg chg="del">
          <ac:chgData name="Pirone, Chiara" userId="d9d5b965-323f-43ee-9ca8-6b95d06dc7f9" providerId="ADAL" clId="{EEA06CB2-82F2-4ED8-9229-4AD4686F732E}" dt="2022-05-17T10:03:40.549" v="5985" actId="478"/>
          <ac:grpSpMkLst>
            <pc:docMk/>
            <pc:sldMk cId="0" sldId="256"/>
            <ac:grpSpMk id="20" creationId="{00000000-0000-0000-0000-000000000000}"/>
          </ac:grpSpMkLst>
        </pc:grpChg>
        <pc:grpChg chg="del mod">
          <ac:chgData name="Pirone, Chiara" userId="d9d5b965-323f-43ee-9ca8-6b95d06dc7f9" providerId="ADAL" clId="{EEA06CB2-82F2-4ED8-9229-4AD4686F732E}" dt="2022-05-17T10:13:35.440" v="6420" actId="21"/>
          <ac:grpSpMkLst>
            <pc:docMk/>
            <pc:sldMk cId="0" sldId="256"/>
            <ac:grpSpMk id="25" creationId="{00000000-0000-0000-0000-000000000000}"/>
          </ac:grpSpMkLst>
        </pc:grpChg>
        <pc:grpChg chg="del mod">
          <ac:chgData name="Pirone, Chiara" userId="d9d5b965-323f-43ee-9ca8-6b95d06dc7f9" providerId="ADAL" clId="{EEA06CB2-82F2-4ED8-9229-4AD4686F732E}" dt="2022-05-17T10:14:19.334" v="6434" actId="21"/>
          <ac:grpSpMkLst>
            <pc:docMk/>
            <pc:sldMk cId="0" sldId="256"/>
            <ac:grpSpMk id="29" creationId="{00000000-0000-0000-0000-000000000000}"/>
          </ac:grpSpMkLst>
        </pc:grpChg>
        <pc:grpChg chg="del mod">
          <ac:chgData name="Pirone, Chiara" userId="d9d5b965-323f-43ee-9ca8-6b95d06dc7f9" providerId="ADAL" clId="{EEA06CB2-82F2-4ED8-9229-4AD4686F732E}" dt="2022-05-17T10:19:09.246" v="6488" actId="21"/>
          <ac:grpSpMkLst>
            <pc:docMk/>
            <pc:sldMk cId="0" sldId="256"/>
            <ac:grpSpMk id="33" creationId="{00000000-0000-0000-0000-000000000000}"/>
          </ac:grpSpMkLst>
        </pc:grpChg>
        <pc:grpChg chg="mod">
          <ac:chgData name="Pirone, Chiara" userId="d9d5b965-323f-43ee-9ca8-6b95d06dc7f9" providerId="ADAL" clId="{EEA06CB2-82F2-4ED8-9229-4AD4686F732E}" dt="2022-05-17T10:14:42.647" v="6451" actId="1035"/>
          <ac:grpSpMkLst>
            <pc:docMk/>
            <pc:sldMk cId="0" sldId="256"/>
            <ac:grpSpMk id="34" creationId="{00000000-0000-0000-0000-000000000000}"/>
          </ac:grpSpMkLst>
        </pc:grpChg>
        <pc:grpChg chg="del mod">
          <ac:chgData name="Pirone, Chiara" userId="d9d5b965-323f-43ee-9ca8-6b95d06dc7f9" providerId="ADAL" clId="{EEA06CB2-82F2-4ED8-9229-4AD4686F732E}" dt="2022-05-17T10:16:56.494" v="6478" actId="21"/>
          <ac:grpSpMkLst>
            <pc:docMk/>
            <pc:sldMk cId="0" sldId="256"/>
            <ac:grpSpMk id="37" creationId="{00000000-0000-0000-0000-000000000000}"/>
          </ac:grpSpMkLst>
        </pc:grpChg>
        <pc:grpChg chg="mod">
          <ac:chgData name="Pirone, Chiara" userId="d9d5b965-323f-43ee-9ca8-6b95d06dc7f9" providerId="ADAL" clId="{EEA06CB2-82F2-4ED8-9229-4AD4686F732E}" dt="2022-05-17T10:14:42.647" v="6451" actId="1035"/>
          <ac:grpSpMkLst>
            <pc:docMk/>
            <pc:sldMk cId="0" sldId="256"/>
            <ac:grpSpMk id="38" creationId="{00000000-0000-0000-0000-000000000000}"/>
          </ac:grpSpMkLst>
        </pc:grpChg>
        <pc:grpChg chg="add mod">
          <ac:chgData name="Pirone, Chiara" userId="d9d5b965-323f-43ee-9ca8-6b95d06dc7f9" providerId="ADAL" clId="{EEA06CB2-82F2-4ED8-9229-4AD4686F732E}" dt="2022-05-17T10:03:43.180" v="5987" actId="571"/>
          <ac:grpSpMkLst>
            <pc:docMk/>
            <pc:sldMk cId="0" sldId="256"/>
            <ac:grpSpMk id="42" creationId="{A21C5108-E105-4473-89E6-FF7FA3B145D7}"/>
          </ac:grpSpMkLst>
        </pc:grpChg>
        <pc:grpChg chg="add mod">
          <ac:chgData name="Pirone, Chiara" userId="d9d5b965-323f-43ee-9ca8-6b95d06dc7f9" providerId="ADAL" clId="{EEA06CB2-82F2-4ED8-9229-4AD4686F732E}" dt="2022-05-17T10:03:43.180" v="5987" actId="571"/>
          <ac:grpSpMkLst>
            <pc:docMk/>
            <pc:sldMk cId="0" sldId="256"/>
            <ac:grpSpMk id="44" creationId="{28A56EAD-9B8F-4DBE-8D4D-E4635E2ABADE}"/>
          </ac:grpSpMkLst>
        </pc:grpChg>
        <pc:grpChg chg="add mod">
          <ac:chgData name="Pirone, Chiara" userId="d9d5b965-323f-43ee-9ca8-6b95d06dc7f9" providerId="ADAL" clId="{EEA06CB2-82F2-4ED8-9229-4AD4686F732E}" dt="2022-05-17T10:03:43.180" v="5987" actId="571"/>
          <ac:grpSpMkLst>
            <pc:docMk/>
            <pc:sldMk cId="0" sldId="256"/>
            <ac:grpSpMk id="46" creationId="{1DA60A5C-5A95-4008-8678-82EB0C8051AA}"/>
          </ac:grpSpMkLst>
        </pc:grpChg>
        <pc:grpChg chg="add mod">
          <ac:chgData name="Pirone, Chiara" userId="d9d5b965-323f-43ee-9ca8-6b95d06dc7f9" providerId="ADAL" clId="{EEA06CB2-82F2-4ED8-9229-4AD4686F732E}" dt="2022-05-17T14:03:48.314" v="8551" actId="1038"/>
          <ac:grpSpMkLst>
            <pc:docMk/>
            <pc:sldMk cId="0" sldId="256"/>
            <ac:grpSpMk id="48" creationId="{628B6545-7776-4E5B-85F9-2FD1B105C77F}"/>
          </ac:grpSpMkLst>
        </pc:grpChg>
        <pc:grpChg chg="add del mod">
          <ac:chgData name="Pirone, Chiara" userId="d9d5b965-323f-43ee-9ca8-6b95d06dc7f9" providerId="ADAL" clId="{EEA06CB2-82F2-4ED8-9229-4AD4686F732E}" dt="2022-05-17T10:20:25.270" v="6501" actId="21"/>
          <ac:grpSpMkLst>
            <pc:docMk/>
            <pc:sldMk cId="0" sldId="256"/>
            <ac:grpSpMk id="50" creationId="{1BC101AB-944B-4617-A039-3E33ECDEAB67}"/>
          </ac:grpSpMkLst>
        </pc:grpChg>
        <pc:grpChg chg="mod">
          <ac:chgData name="Pirone, Chiara" userId="d9d5b965-323f-43ee-9ca8-6b95d06dc7f9" providerId="ADAL" clId="{EEA06CB2-82F2-4ED8-9229-4AD4686F732E}" dt="2022-05-17T10:14:42.647" v="6451" actId="1035"/>
          <ac:grpSpMkLst>
            <pc:docMk/>
            <pc:sldMk cId="0" sldId="256"/>
            <ac:grpSpMk id="51" creationId="{465A0065-3D25-4A7E-80C6-0FB7B9358CA9}"/>
          </ac:grpSpMkLst>
        </pc:grpChg>
        <pc:grpChg chg="add del mod topLvl">
          <ac:chgData name="Pirone, Chiara" userId="d9d5b965-323f-43ee-9ca8-6b95d06dc7f9" providerId="ADAL" clId="{EEA06CB2-82F2-4ED8-9229-4AD4686F732E}" dt="2022-05-17T10:53:58.599" v="7125" actId="478"/>
          <ac:grpSpMkLst>
            <pc:docMk/>
            <pc:sldMk cId="0" sldId="256"/>
            <ac:grpSpMk id="54" creationId="{DB526C5E-625E-47F5-A135-FDF736991FEA}"/>
          </ac:grpSpMkLst>
        </pc:grpChg>
        <pc:grpChg chg="add del mod">
          <ac:chgData name="Pirone, Chiara" userId="d9d5b965-323f-43ee-9ca8-6b95d06dc7f9" providerId="ADAL" clId="{EEA06CB2-82F2-4ED8-9229-4AD4686F732E}" dt="2022-05-17T10:21:02.278" v="6513" actId="21"/>
          <ac:grpSpMkLst>
            <pc:docMk/>
            <pc:sldMk cId="0" sldId="256"/>
            <ac:grpSpMk id="56" creationId="{3B3446A5-BE32-40A7-8D90-9BEED38C9FB3}"/>
          </ac:grpSpMkLst>
        </pc:grpChg>
        <pc:grpChg chg="mod">
          <ac:chgData name="Pirone, Chiara" userId="d9d5b965-323f-43ee-9ca8-6b95d06dc7f9" providerId="ADAL" clId="{EEA06CB2-82F2-4ED8-9229-4AD4686F732E}" dt="2022-05-17T10:14:42.647" v="6451" actId="1035"/>
          <ac:grpSpMkLst>
            <pc:docMk/>
            <pc:sldMk cId="0" sldId="256"/>
            <ac:grpSpMk id="57" creationId="{2F919621-5AB6-47ED-884A-DF338F623EFA}"/>
          </ac:grpSpMkLst>
        </pc:grpChg>
        <pc:grpChg chg="add del mod">
          <ac:chgData name="Pirone, Chiara" userId="d9d5b965-323f-43ee-9ca8-6b95d06dc7f9" providerId="ADAL" clId="{EEA06CB2-82F2-4ED8-9229-4AD4686F732E}" dt="2022-05-17T10:35:12.397" v="6715" actId="478"/>
          <ac:grpSpMkLst>
            <pc:docMk/>
            <pc:sldMk cId="0" sldId="256"/>
            <ac:grpSpMk id="65" creationId="{097A5409-568D-4C86-A915-BE8897D26342}"/>
          </ac:grpSpMkLst>
        </pc:grpChg>
        <pc:grpChg chg="mod">
          <ac:chgData name="Pirone, Chiara" userId="d9d5b965-323f-43ee-9ca8-6b95d06dc7f9" providerId="ADAL" clId="{EEA06CB2-82F2-4ED8-9229-4AD4686F732E}" dt="2022-05-17T10:28:45.788" v="6680" actId="1037"/>
          <ac:grpSpMkLst>
            <pc:docMk/>
            <pc:sldMk cId="0" sldId="256"/>
            <ac:grpSpMk id="66" creationId="{4217B7B3-90C6-4388-89C1-0322E8770A26}"/>
          </ac:grpSpMkLst>
        </pc:grpChg>
        <pc:grpChg chg="add del mod">
          <ac:chgData name="Pirone, Chiara" userId="d9d5b965-323f-43ee-9ca8-6b95d06dc7f9" providerId="ADAL" clId="{EEA06CB2-82F2-4ED8-9229-4AD4686F732E}" dt="2022-05-17T10:35:12.397" v="6715" actId="478"/>
          <ac:grpSpMkLst>
            <pc:docMk/>
            <pc:sldMk cId="0" sldId="256"/>
            <ac:grpSpMk id="70" creationId="{C649EF8F-417A-4074-AD73-EAD7FEC54B3C}"/>
          </ac:grpSpMkLst>
        </pc:grpChg>
        <pc:grpChg chg="mod">
          <ac:chgData name="Pirone, Chiara" userId="d9d5b965-323f-43ee-9ca8-6b95d06dc7f9" providerId="ADAL" clId="{EEA06CB2-82F2-4ED8-9229-4AD4686F732E}" dt="2022-05-17T10:28:51.017" v="6687" actId="1037"/>
          <ac:grpSpMkLst>
            <pc:docMk/>
            <pc:sldMk cId="0" sldId="256"/>
            <ac:grpSpMk id="71" creationId="{8AD52EF4-5D64-49F6-B522-F1B822B9C446}"/>
          </ac:grpSpMkLst>
        </pc:grpChg>
        <pc:grpChg chg="add del mod">
          <ac:chgData name="Pirone, Chiara" userId="d9d5b965-323f-43ee-9ca8-6b95d06dc7f9" providerId="ADAL" clId="{EEA06CB2-82F2-4ED8-9229-4AD4686F732E}" dt="2022-05-17T10:14:34.838" v="6438"/>
          <ac:grpSpMkLst>
            <pc:docMk/>
            <pc:sldMk cId="0" sldId="256"/>
            <ac:grpSpMk id="74" creationId="{2274DF8A-B91D-4EC4-99C5-A91F047C6861}"/>
          </ac:grpSpMkLst>
        </pc:grpChg>
        <pc:grpChg chg="mod">
          <ac:chgData name="Pirone, Chiara" userId="d9d5b965-323f-43ee-9ca8-6b95d06dc7f9" providerId="ADAL" clId="{EEA06CB2-82F2-4ED8-9229-4AD4686F732E}" dt="2022-05-17T10:14:33.918" v="6437"/>
          <ac:grpSpMkLst>
            <pc:docMk/>
            <pc:sldMk cId="0" sldId="256"/>
            <ac:grpSpMk id="75" creationId="{FF4E2EF0-7D53-44D1-99A4-3757C72CD862}"/>
          </ac:grpSpMkLst>
        </pc:grpChg>
        <pc:grpChg chg="add del mod">
          <ac:chgData name="Pirone, Chiara" userId="d9d5b965-323f-43ee-9ca8-6b95d06dc7f9" providerId="ADAL" clId="{EEA06CB2-82F2-4ED8-9229-4AD4686F732E}" dt="2022-05-17T10:35:12.397" v="6715" actId="478"/>
          <ac:grpSpMkLst>
            <pc:docMk/>
            <pc:sldMk cId="0" sldId="256"/>
            <ac:grpSpMk id="79" creationId="{828D0E54-7A38-42BF-A0E8-9F0B36FB061C}"/>
          </ac:grpSpMkLst>
        </pc:grpChg>
        <pc:grpChg chg="mod">
          <ac:chgData name="Pirone, Chiara" userId="d9d5b965-323f-43ee-9ca8-6b95d06dc7f9" providerId="ADAL" clId="{EEA06CB2-82F2-4ED8-9229-4AD4686F732E}" dt="2022-05-17T10:28:54.226" v="6691" actId="1037"/>
          <ac:grpSpMkLst>
            <pc:docMk/>
            <pc:sldMk cId="0" sldId="256"/>
            <ac:grpSpMk id="80" creationId="{CE82C38E-2B28-47D4-98A0-1AC55CDAD0AD}"/>
          </ac:grpSpMkLst>
        </pc:grpChg>
        <pc:grpChg chg="add del mod">
          <ac:chgData name="Pirone, Chiara" userId="d9d5b965-323f-43ee-9ca8-6b95d06dc7f9" providerId="ADAL" clId="{EEA06CB2-82F2-4ED8-9229-4AD4686F732E}" dt="2022-05-17T10:35:12.397" v="6715" actId="478"/>
          <ac:grpSpMkLst>
            <pc:docMk/>
            <pc:sldMk cId="0" sldId="256"/>
            <ac:grpSpMk id="84" creationId="{E4BA8F1E-9D21-4845-9497-C410FF4A5D88}"/>
          </ac:grpSpMkLst>
        </pc:grpChg>
        <pc:grpChg chg="mod">
          <ac:chgData name="Pirone, Chiara" userId="d9d5b965-323f-43ee-9ca8-6b95d06dc7f9" providerId="ADAL" clId="{EEA06CB2-82F2-4ED8-9229-4AD4686F732E}" dt="2022-05-17T10:28:57.906" v="6695" actId="1037"/>
          <ac:grpSpMkLst>
            <pc:docMk/>
            <pc:sldMk cId="0" sldId="256"/>
            <ac:grpSpMk id="85" creationId="{CB2467CA-3B44-443C-BB0B-4D7393594ABE}"/>
          </ac:grpSpMkLst>
        </pc:grpChg>
        <pc:grpChg chg="add del mod">
          <ac:chgData name="Pirone, Chiara" userId="d9d5b965-323f-43ee-9ca8-6b95d06dc7f9" providerId="ADAL" clId="{EEA06CB2-82F2-4ED8-9229-4AD4686F732E}" dt="2022-05-17T10:35:12.397" v="6715" actId="478"/>
          <ac:grpSpMkLst>
            <pc:docMk/>
            <pc:sldMk cId="0" sldId="256"/>
            <ac:grpSpMk id="89" creationId="{59CD7C00-00B7-4A0F-B4A0-2FCC83DE3ECC}"/>
          </ac:grpSpMkLst>
        </pc:grpChg>
        <pc:grpChg chg="mod">
          <ac:chgData name="Pirone, Chiara" userId="d9d5b965-323f-43ee-9ca8-6b95d06dc7f9" providerId="ADAL" clId="{EEA06CB2-82F2-4ED8-9229-4AD4686F732E}" dt="2022-05-17T10:28:40.012" v="6677" actId="1037"/>
          <ac:grpSpMkLst>
            <pc:docMk/>
            <pc:sldMk cId="0" sldId="256"/>
            <ac:grpSpMk id="90" creationId="{6A91E845-FFE8-4D94-917C-7A5907D9E44E}"/>
          </ac:grpSpMkLst>
        </pc:grpChg>
        <pc:grpChg chg="add del mod">
          <ac:chgData name="Pirone, Chiara" userId="d9d5b965-323f-43ee-9ca8-6b95d06dc7f9" providerId="ADAL" clId="{EEA06CB2-82F2-4ED8-9229-4AD4686F732E}" dt="2022-05-17T10:35:12.397" v="6715" actId="478"/>
          <ac:grpSpMkLst>
            <pc:docMk/>
            <pc:sldMk cId="0" sldId="256"/>
            <ac:grpSpMk id="94" creationId="{6F193496-5BB3-4030-A32A-72D2E87FC6F4}"/>
          </ac:grpSpMkLst>
        </pc:grpChg>
        <pc:grpChg chg="mod">
          <ac:chgData name="Pirone, Chiara" userId="d9d5b965-323f-43ee-9ca8-6b95d06dc7f9" providerId="ADAL" clId="{EEA06CB2-82F2-4ED8-9229-4AD4686F732E}" dt="2022-05-17T10:23:06.717" v="6652" actId="1038"/>
          <ac:grpSpMkLst>
            <pc:docMk/>
            <pc:sldMk cId="0" sldId="256"/>
            <ac:grpSpMk id="95" creationId="{524BDF27-DB57-440B-AB93-20D57404069E}"/>
          </ac:grpSpMkLst>
        </pc:grpChg>
        <pc:grpChg chg="add mod">
          <ac:chgData name="Pirone, Chiara" userId="d9d5b965-323f-43ee-9ca8-6b95d06dc7f9" providerId="ADAL" clId="{EEA06CB2-82F2-4ED8-9229-4AD4686F732E}" dt="2022-05-17T14:03:21.289" v="8505" actId="1037"/>
          <ac:grpSpMkLst>
            <pc:docMk/>
            <pc:sldMk cId="0" sldId="256"/>
            <ac:grpSpMk id="105" creationId="{6D862A65-14AA-448D-B919-F534322ACDB9}"/>
          </ac:grpSpMkLst>
        </pc:grpChg>
        <pc:grpChg chg="add mod">
          <ac:chgData name="Pirone, Chiara" userId="d9d5b965-323f-43ee-9ca8-6b95d06dc7f9" providerId="ADAL" clId="{EEA06CB2-82F2-4ED8-9229-4AD4686F732E}" dt="2022-05-17T14:04:10.168" v="8580" actId="1038"/>
          <ac:grpSpMkLst>
            <pc:docMk/>
            <pc:sldMk cId="0" sldId="256"/>
            <ac:grpSpMk id="106" creationId="{7FE0F611-D6CD-4CEE-97BE-31B5F3FA24D2}"/>
          </ac:grpSpMkLst>
        </pc:grpChg>
        <pc:grpChg chg="add mod">
          <ac:chgData name="Pirone, Chiara" userId="d9d5b965-323f-43ee-9ca8-6b95d06dc7f9" providerId="ADAL" clId="{EEA06CB2-82F2-4ED8-9229-4AD4686F732E}" dt="2022-05-17T14:04:03.999" v="8573" actId="1038"/>
          <ac:grpSpMkLst>
            <pc:docMk/>
            <pc:sldMk cId="0" sldId="256"/>
            <ac:grpSpMk id="107" creationId="{72D33046-6BB7-4271-8AFA-AA097376F27A}"/>
          </ac:grpSpMkLst>
        </pc:grpChg>
        <pc:grpChg chg="add mod">
          <ac:chgData name="Pirone, Chiara" userId="d9d5b965-323f-43ee-9ca8-6b95d06dc7f9" providerId="ADAL" clId="{EEA06CB2-82F2-4ED8-9229-4AD4686F732E}" dt="2022-05-17T14:04:01.670" v="8570" actId="1038"/>
          <ac:grpSpMkLst>
            <pc:docMk/>
            <pc:sldMk cId="0" sldId="256"/>
            <ac:grpSpMk id="108" creationId="{1A2CEF5A-E549-4A5B-A1AE-2B381C42C254}"/>
          </ac:grpSpMkLst>
        </pc:grpChg>
        <pc:grpChg chg="add mod">
          <ac:chgData name="Pirone, Chiara" userId="d9d5b965-323f-43ee-9ca8-6b95d06dc7f9" providerId="ADAL" clId="{EEA06CB2-82F2-4ED8-9229-4AD4686F732E}" dt="2022-05-17T14:03:48.314" v="8551" actId="1038"/>
          <ac:grpSpMkLst>
            <pc:docMk/>
            <pc:sldMk cId="0" sldId="256"/>
            <ac:grpSpMk id="109" creationId="{5E4245AF-52CD-4E11-BB4F-D3A0E44D3F30}"/>
          </ac:grpSpMkLst>
        </pc:grpChg>
        <pc:grpChg chg="add del mod">
          <ac:chgData name="Pirone, Chiara" userId="d9d5b965-323f-43ee-9ca8-6b95d06dc7f9" providerId="ADAL" clId="{EEA06CB2-82F2-4ED8-9229-4AD4686F732E}" dt="2022-05-17T10:35:48.980" v="6724" actId="165"/>
          <ac:grpSpMkLst>
            <pc:docMk/>
            <pc:sldMk cId="0" sldId="256"/>
            <ac:grpSpMk id="110" creationId="{E4EE305F-B0C2-4518-B23A-69E4622B2950}"/>
          </ac:grpSpMkLst>
        </pc:grpChg>
        <pc:grpChg chg="add del mod">
          <ac:chgData name="Pirone, Chiara" userId="d9d5b965-323f-43ee-9ca8-6b95d06dc7f9" providerId="ADAL" clId="{EEA06CB2-82F2-4ED8-9229-4AD4686F732E}" dt="2022-05-17T14:03:31.104" v="8520" actId="1038"/>
          <ac:grpSpMkLst>
            <pc:docMk/>
            <pc:sldMk cId="0" sldId="256"/>
            <ac:grpSpMk id="111" creationId="{7F277E4A-3B65-4E40-A4E6-ABCE7F80FBB1}"/>
          </ac:grpSpMkLst>
        </pc:grpChg>
        <pc:picChg chg="mod">
          <ac:chgData name="Pirone, Chiara" userId="d9d5b965-323f-43ee-9ca8-6b95d06dc7f9" providerId="ADAL" clId="{EEA06CB2-82F2-4ED8-9229-4AD4686F732E}" dt="2022-05-17T10:14:42.647" v="6451" actId="1035"/>
          <ac:picMkLst>
            <pc:docMk/>
            <pc:sldMk cId="0" sldId="256"/>
            <ac:picMk id="36" creationId="{00000000-0000-0000-0000-000000000000}"/>
          </ac:picMkLst>
        </pc:picChg>
        <pc:picChg chg="mod">
          <ac:chgData name="Pirone, Chiara" userId="d9d5b965-323f-43ee-9ca8-6b95d06dc7f9" providerId="ADAL" clId="{EEA06CB2-82F2-4ED8-9229-4AD4686F732E}" dt="2022-05-17T10:14:42.647" v="6451" actId="1035"/>
          <ac:picMkLst>
            <pc:docMk/>
            <pc:sldMk cId="0" sldId="256"/>
            <ac:picMk id="40" creationId="{00000000-0000-0000-0000-000000000000}"/>
          </ac:picMkLst>
        </pc:picChg>
        <pc:picChg chg="mod">
          <ac:chgData name="Pirone, Chiara" userId="d9d5b965-323f-43ee-9ca8-6b95d06dc7f9" providerId="ADAL" clId="{EEA06CB2-82F2-4ED8-9229-4AD4686F732E}" dt="2022-05-17T10:14:42.647" v="6451" actId="1035"/>
          <ac:picMkLst>
            <pc:docMk/>
            <pc:sldMk cId="0" sldId="256"/>
            <ac:picMk id="52" creationId="{3779D110-8509-49DB-8ED1-342D16761CE6}"/>
          </ac:picMkLst>
        </pc:picChg>
        <pc:picChg chg="mod">
          <ac:chgData name="Pirone, Chiara" userId="d9d5b965-323f-43ee-9ca8-6b95d06dc7f9" providerId="ADAL" clId="{EEA06CB2-82F2-4ED8-9229-4AD4686F732E}" dt="2022-05-17T10:14:42.647" v="6451" actId="1035"/>
          <ac:picMkLst>
            <pc:docMk/>
            <pc:sldMk cId="0" sldId="256"/>
            <ac:picMk id="58" creationId="{D5024D87-7648-4CEE-BE9C-793E06920857}"/>
          </ac:picMkLst>
        </pc:picChg>
        <pc:picChg chg="add mod">
          <ac:chgData name="Pirone, Chiara" userId="d9d5b965-323f-43ee-9ca8-6b95d06dc7f9" providerId="ADAL" clId="{EEA06CB2-82F2-4ED8-9229-4AD4686F732E}" dt="2022-05-17T14:03:21.289" v="8505" actId="1037"/>
          <ac:picMkLst>
            <pc:docMk/>
            <pc:sldMk cId="0" sldId="256"/>
            <ac:picMk id="64" creationId="{AE31EDEC-6D01-4016-A878-126BEBA18E89}"/>
          </ac:picMkLst>
        </pc:picChg>
        <pc:picChg chg="mod">
          <ac:chgData name="Pirone, Chiara" userId="d9d5b965-323f-43ee-9ca8-6b95d06dc7f9" providerId="ADAL" clId="{EEA06CB2-82F2-4ED8-9229-4AD4686F732E}" dt="2022-05-17T10:28:45.788" v="6680" actId="1037"/>
          <ac:picMkLst>
            <pc:docMk/>
            <pc:sldMk cId="0" sldId="256"/>
            <ac:picMk id="67" creationId="{B59ECFE4-39A5-4F32-A1F3-16576F17133C}"/>
          </ac:picMkLst>
        </pc:picChg>
        <pc:picChg chg="add mod">
          <ac:chgData name="Pirone, Chiara" userId="d9d5b965-323f-43ee-9ca8-6b95d06dc7f9" providerId="ADAL" clId="{EEA06CB2-82F2-4ED8-9229-4AD4686F732E}" dt="2022-05-17T14:04:10.168" v="8580" actId="1038"/>
          <ac:picMkLst>
            <pc:docMk/>
            <pc:sldMk cId="0" sldId="256"/>
            <ac:picMk id="69" creationId="{4A46C32D-8EAD-4D59-8C4C-18B4CE717418}"/>
          </ac:picMkLst>
        </pc:picChg>
        <pc:picChg chg="mod">
          <ac:chgData name="Pirone, Chiara" userId="d9d5b965-323f-43ee-9ca8-6b95d06dc7f9" providerId="ADAL" clId="{EEA06CB2-82F2-4ED8-9229-4AD4686F732E}" dt="2022-05-17T10:28:51.017" v="6687" actId="1037"/>
          <ac:picMkLst>
            <pc:docMk/>
            <pc:sldMk cId="0" sldId="256"/>
            <ac:picMk id="72" creationId="{F3C53D1A-706F-41F2-9ED1-5744C86EBDE7}"/>
          </ac:picMkLst>
        </pc:picChg>
        <pc:picChg chg="mod">
          <ac:chgData name="Pirone, Chiara" userId="d9d5b965-323f-43ee-9ca8-6b95d06dc7f9" providerId="ADAL" clId="{EEA06CB2-82F2-4ED8-9229-4AD4686F732E}" dt="2022-05-17T10:14:33.918" v="6437"/>
          <ac:picMkLst>
            <pc:docMk/>
            <pc:sldMk cId="0" sldId="256"/>
            <ac:picMk id="76" creationId="{63340EE0-2E54-4734-8F21-6327C7E28981}"/>
          </ac:picMkLst>
        </pc:picChg>
        <pc:picChg chg="add mod">
          <ac:chgData name="Pirone, Chiara" userId="d9d5b965-323f-43ee-9ca8-6b95d06dc7f9" providerId="ADAL" clId="{EEA06CB2-82F2-4ED8-9229-4AD4686F732E}" dt="2022-05-17T14:04:03.999" v="8573" actId="1038"/>
          <ac:picMkLst>
            <pc:docMk/>
            <pc:sldMk cId="0" sldId="256"/>
            <ac:picMk id="78" creationId="{CD42CF58-FD42-40F2-B46F-0492A207AD30}"/>
          </ac:picMkLst>
        </pc:picChg>
        <pc:picChg chg="mod">
          <ac:chgData name="Pirone, Chiara" userId="d9d5b965-323f-43ee-9ca8-6b95d06dc7f9" providerId="ADAL" clId="{EEA06CB2-82F2-4ED8-9229-4AD4686F732E}" dt="2022-05-17T10:28:54.226" v="6691" actId="1037"/>
          <ac:picMkLst>
            <pc:docMk/>
            <pc:sldMk cId="0" sldId="256"/>
            <ac:picMk id="81" creationId="{2005EDB9-5B0F-4D4C-B07C-A390270E7381}"/>
          </ac:picMkLst>
        </pc:picChg>
        <pc:picChg chg="add mod">
          <ac:chgData name="Pirone, Chiara" userId="d9d5b965-323f-43ee-9ca8-6b95d06dc7f9" providerId="ADAL" clId="{EEA06CB2-82F2-4ED8-9229-4AD4686F732E}" dt="2022-05-17T14:04:01.670" v="8570" actId="1038"/>
          <ac:picMkLst>
            <pc:docMk/>
            <pc:sldMk cId="0" sldId="256"/>
            <ac:picMk id="83" creationId="{8CE7773A-528A-4496-84C9-D1FF8A5F6411}"/>
          </ac:picMkLst>
        </pc:picChg>
        <pc:picChg chg="mod">
          <ac:chgData name="Pirone, Chiara" userId="d9d5b965-323f-43ee-9ca8-6b95d06dc7f9" providerId="ADAL" clId="{EEA06CB2-82F2-4ED8-9229-4AD4686F732E}" dt="2022-05-17T10:28:57.906" v="6695" actId="1037"/>
          <ac:picMkLst>
            <pc:docMk/>
            <pc:sldMk cId="0" sldId="256"/>
            <ac:picMk id="86" creationId="{2A68D9BE-B925-4726-8ECB-82F4E41D7E36}"/>
          </ac:picMkLst>
        </pc:picChg>
        <pc:picChg chg="add mod">
          <ac:chgData name="Pirone, Chiara" userId="d9d5b965-323f-43ee-9ca8-6b95d06dc7f9" providerId="ADAL" clId="{EEA06CB2-82F2-4ED8-9229-4AD4686F732E}" dt="2022-05-17T14:03:48.314" v="8551" actId="1038"/>
          <ac:picMkLst>
            <pc:docMk/>
            <pc:sldMk cId="0" sldId="256"/>
            <ac:picMk id="88" creationId="{45426FDD-0F8E-4B21-B1A5-DAA3012DCDCE}"/>
          </ac:picMkLst>
        </pc:picChg>
        <pc:picChg chg="mod">
          <ac:chgData name="Pirone, Chiara" userId="d9d5b965-323f-43ee-9ca8-6b95d06dc7f9" providerId="ADAL" clId="{EEA06CB2-82F2-4ED8-9229-4AD4686F732E}" dt="2022-05-17T10:28:40.012" v="6677" actId="1037"/>
          <ac:picMkLst>
            <pc:docMk/>
            <pc:sldMk cId="0" sldId="256"/>
            <ac:picMk id="91" creationId="{F3553B7F-AA77-4B56-8684-27782D71F64D}"/>
          </ac:picMkLst>
        </pc:picChg>
        <pc:picChg chg="add mod topLvl">
          <ac:chgData name="Pirone, Chiara" userId="d9d5b965-323f-43ee-9ca8-6b95d06dc7f9" providerId="ADAL" clId="{EEA06CB2-82F2-4ED8-9229-4AD4686F732E}" dt="2022-05-17T14:03:31.104" v="8520" actId="1038"/>
          <ac:picMkLst>
            <pc:docMk/>
            <pc:sldMk cId="0" sldId="256"/>
            <ac:picMk id="93" creationId="{E2B3534B-BA0F-4C20-BAAA-64CAB818404A}"/>
          </ac:picMkLst>
        </pc:picChg>
        <pc:picChg chg="mod">
          <ac:chgData name="Pirone, Chiara" userId="d9d5b965-323f-43ee-9ca8-6b95d06dc7f9" providerId="ADAL" clId="{EEA06CB2-82F2-4ED8-9229-4AD4686F732E}" dt="2022-05-17T10:23:06.717" v="6652" actId="1038"/>
          <ac:picMkLst>
            <pc:docMk/>
            <pc:sldMk cId="0" sldId="256"/>
            <ac:picMk id="96" creationId="{0ACDA4E3-CE21-4205-AED5-435C51C3F6CB}"/>
          </ac:picMkLst>
        </pc:picChg>
        <pc:picChg chg="add del mod">
          <ac:chgData name="Pirone, Chiara" userId="d9d5b965-323f-43ee-9ca8-6b95d06dc7f9" providerId="ADAL" clId="{EEA06CB2-82F2-4ED8-9229-4AD4686F732E}" dt="2022-05-17T10:39:30.508" v="6771" actId="478"/>
          <ac:picMkLst>
            <pc:docMk/>
            <pc:sldMk cId="0" sldId="256"/>
            <ac:picMk id="112" creationId="{A23B3B67-6C3E-403C-97FF-54A539F49957}"/>
          </ac:picMkLst>
        </pc:picChg>
        <pc:picChg chg="add del mod">
          <ac:chgData name="Pirone, Chiara" userId="d9d5b965-323f-43ee-9ca8-6b95d06dc7f9" providerId="ADAL" clId="{EEA06CB2-82F2-4ED8-9229-4AD4686F732E}" dt="2022-05-17T10:55:55.032" v="7243" actId="478"/>
          <ac:picMkLst>
            <pc:docMk/>
            <pc:sldMk cId="0" sldId="256"/>
            <ac:picMk id="113" creationId="{A5395E29-AD2D-4B09-88C5-A720F2358636}"/>
          </ac:picMkLst>
        </pc:picChg>
        <pc:picChg chg="add mod">
          <ac:chgData name="Pirone, Chiara" userId="d9d5b965-323f-43ee-9ca8-6b95d06dc7f9" providerId="ADAL" clId="{EEA06CB2-82F2-4ED8-9229-4AD4686F732E}" dt="2022-05-17T10:54:17.942" v="7131"/>
          <ac:picMkLst>
            <pc:docMk/>
            <pc:sldMk cId="0" sldId="256"/>
            <ac:picMk id="115" creationId="{0F9F238C-0601-4802-8158-2351585FD77E}"/>
          </ac:picMkLst>
        </pc:picChg>
        <pc:picChg chg="add mod">
          <ac:chgData name="Pirone, Chiara" userId="d9d5b965-323f-43ee-9ca8-6b95d06dc7f9" providerId="ADAL" clId="{EEA06CB2-82F2-4ED8-9229-4AD4686F732E}" dt="2022-05-17T10:54:17.942" v="7131"/>
          <ac:picMkLst>
            <pc:docMk/>
            <pc:sldMk cId="0" sldId="256"/>
            <ac:picMk id="117" creationId="{918A5059-7D3E-4C07-BE1D-945E9D5DFC19}"/>
          </ac:picMkLst>
        </pc:picChg>
        <pc:picChg chg="add mod">
          <ac:chgData name="Pirone, Chiara" userId="d9d5b965-323f-43ee-9ca8-6b95d06dc7f9" providerId="ADAL" clId="{EEA06CB2-82F2-4ED8-9229-4AD4686F732E}" dt="2022-05-17T10:55:55.269" v="7244"/>
          <ac:picMkLst>
            <pc:docMk/>
            <pc:sldMk cId="0" sldId="256"/>
            <ac:picMk id="119" creationId="{B3F12A63-E12F-4694-9340-32C0EDA2CD89}"/>
          </ac:picMkLst>
        </pc:picChg>
      </pc:sldChg>
      <pc:sldChg chg="add del ord setBg">
        <pc:chgData name="Pirone, Chiara" userId="d9d5b965-323f-43ee-9ca8-6b95d06dc7f9" providerId="ADAL" clId="{EEA06CB2-82F2-4ED8-9229-4AD4686F732E}" dt="2022-05-17T10:47:36.851" v="6980"/>
        <pc:sldMkLst>
          <pc:docMk/>
          <pc:sldMk cId="0" sldId="257"/>
        </pc:sldMkLst>
      </pc:sldChg>
      <pc:sldChg chg="add del ord setBg">
        <pc:chgData name="Pirone, Chiara" userId="d9d5b965-323f-43ee-9ca8-6b95d06dc7f9" providerId="ADAL" clId="{EEA06CB2-82F2-4ED8-9229-4AD4686F732E}" dt="2022-05-17T10:47:36.851" v="6980"/>
        <pc:sldMkLst>
          <pc:docMk/>
          <pc:sldMk cId="0" sldId="258"/>
        </pc:sldMkLst>
      </pc:sldChg>
      <pc:sldChg chg="add del ord setBg">
        <pc:chgData name="Pirone, Chiara" userId="d9d5b965-323f-43ee-9ca8-6b95d06dc7f9" providerId="ADAL" clId="{EEA06CB2-82F2-4ED8-9229-4AD4686F732E}" dt="2022-05-17T10:47:36.851" v="6980"/>
        <pc:sldMkLst>
          <pc:docMk/>
          <pc:sldMk cId="0" sldId="259"/>
        </pc:sldMkLst>
      </pc:sldChg>
      <pc:sldChg chg="add del ord setBg">
        <pc:chgData name="Pirone, Chiara" userId="d9d5b965-323f-43ee-9ca8-6b95d06dc7f9" providerId="ADAL" clId="{EEA06CB2-82F2-4ED8-9229-4AD4686F732E}" dt="2022-05-17T10:47:36.851" v="6980"/>
        <pc:sldMkLst>
          <pc:docMk/>
          <pc:sldMk cId="0" sldId="260"/>
        </pc:sldMkLst>
      </pc:sldChg>
      <pc:sldChg chg="add del ord setBg">
        <pc:chgData name="Pirone, Chiara" userId="d9d5b965-323f-43ee-9ca8-6b95d06dc7f9" providerId="ADAL" clId="{EEA06CB2-82F2-4ED8-9229-4AD4686F732E}" dt="2022-05-17T10:47:36.851" v="6980"/>
        <pc:sldMkLst>
          <pc:docMk/>
          <pc:sldMk cId="0" sldId="261"/>
        </pc:sldMkLst>
      </pc:sldChg>
      <pc:sldChg chg="add del mod ord setBg modShow">
        <pc:chgData name="Pirone, Chiara" userId="d9d5b965-323f-43ee-9ca8-6b95d06dc7f9" providerId="ADAL" clId="{EEA06CB2-82F2-4ED8-9229-4AD4686F732E}" dt="2022-05-17T11:13:22.139" v="7673"/>
        <pc:sldMkLst>
          <pc:docMk/>
          <pc:sldMk cId="0" sldId="262"/>
        </pc:sldMkLst>
      </pc:sldChg>
      <pc:sldChg chg="addSp delSp modSp add del mod ord">
        <pc:chgData name="Pirone, Chiara" userId="d9d5b965-323f-43ee-9ca8-6b95d06dc7f9" providerId="ADAL" clId="{EEA06CB2-82F2-4ED8-9229-4AD4686F732E}" dt="2022-05-17T13:52:03.077" v="8439" actId="20577"/>
        <pc:sldMkLst>
          <pc:docMk/>
          <pc:sldMk cId="0" sldId="277"/>
        </pc:sldMkLst>
        <pc:spChg chg="mod ord">
          <ac:chgData name="Pirone, Chiara" userId="d9d5b965-323f-43ee-9ca8-6b95d06dc7f9" providerId="ADAL" clId="{EEA06CB2-82F2-4ED8-9229-4AD4686F732E}" dt="2022-05-17T10:41:24.145" v="6784" actId="167"/>
          <ac:spMkLst>
            <pc:docMk/>
            <pc:sldMk cId="0" sldId="277"/>
            <ac:spMk id="2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3:52:03.077" v="8439" actId="20577"/>
          <ac:spMkLst>
            <pc:docMk/>
            <pc:sldMk cId="0" sldId="277"/>
            <ac:spMk id="16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0:41:27.137" v="6785" actId="404"/>
          <ac:spMkLst>
            <pc:docMk/>
            <pc:sldMk cId="0" sldId="277"/>
            <ac:spMk id="23" creationId="{7ACDFA70-54A8-4E49-90A9-2AB767120FEA}"/>
          </ac:spMkLst>
        </pc:spChg>
        <pc:spChg chg="mod">
          <ac:chgData name="Pirone, Chiara" userId="d9d5b965-323f-43ee-9ca8-6b95d06dc7f9" providerId="ADAL" clId="{EEA06CB2-82F2-4ED8-9229-4AD4686F732E}" dt="2022-05-17T10:41:12.880" v="6782" actId="2711"/>
          <ac:spMkLst>
            <pc:docMk/>
            <pc:sldMk cId="0" sldId="277"/>
            <ac:spMk id="24" creationId="{CB59D53C-CF28-430E-AE60-F2D8D7BA5369}"/>
          </ac:spMkLst>
        </pc:spChg>
        <pc:spChg chg="mod">
          <ac:chgData name="Pirone, Chiara" userId="d9d5b965-323f-43ee-9ca8-6b95d06dc7f9" providerId="ADAL" clId="{EEA06CB2-82F2-4ED8-9229-4AD4686F732E}" dt="2022-05-17T10:41:12.880" v="6782" actId="2711"/>
          <ac:spMkLst>
            <pc:docMk/>
            <pc:sldMk cId="0" sldId="277"/>
            <ac:spMk id="25" creationId="{70FF04CE-DB1D-4AA7-B5E5-380ACA065432}"/>
          </ac:spMkLst>
        </pc:spChg>
        <pc:spChg chg="mod">
          <ac:chgData name="Pirone, Chiara" userId="d9d5b965-323f-43ee-9ca8-6b95d06dc7f9" providerId="ADAL" clId="{EEA06CB2-82F2-4ED8-9229-4AD4686F732E}" dt="2022-05-17T10:41:12.880" v="6782" actId="2711"/>
          <ac:spMkLst>
            <pc:docMk/>
            <pc:sldMk cId="0" sldId="277"/>
            <ac:spMk id="26" creationId="{9547B635-BDF9-42DF-AF97-8D57740E148C}"/>
          </ac:spMkLst>
        </pc:spChg>
        <pc:spChg chg="mod">
          <ac:chgData name="Pirone, Chiara" userId="d9d5b965-323f-43ee-9ca8-6b95d06dc7f9" providerId="ADAL" clId="{EEA06CB2-82F2-4ED8-9229-4AD4686F732E}" dt="2022-05-17T10:41:33.639" v="6787" actId="12788"/>
          <ac:spMkLst>
            <pc:docMk/>
            <pc:sldMk cId="0" sldId="277"/>
            <ac:spMk id="27" creationId="{DD67628F-1B64-44B7-8810-E03BF3A4A3ED}"/>
          </ac:spMkLst>
        </pc:spChg>
        <pc:spChg chg="mod">
          <ac:chgData name="Pirone, Chiara" userId="d9d5b965-323f-43ee-9ca8-6b95d06dc7f9" providerId="ADAL" clId="{EEA06CB2-82F2-4ED8-9229-4AD4686F732E}" dt="2022-05-17T10:41:33.639" v="6787" actId="12788"/>
          <ac:spMkLst>
            <pc:docMk/>
            <pc:sldMk cId="0" sldId="277"/>
            <ac:spMk id="28" creationId="{ED0D6CFD-2ADD-4783-B524-84D031CB9E24}"/>
          </ac:spMkLst>
        </pc:spChg>
        <pc:spChg chg="mod">
          <ac:chgData name="Pirone, Chiara" userId="d9d5b965-323f-43ee-9ca8-6b95d06dc7f9" providerId="ADAL" clId="{EEA06CB2-82F2-4ED8-9229-4AD4686F732E}" dt="2022-05-17T10:41:33.639" v="6787" actId="12788"/>
          <ac:spMkLst>
            <pc:docMk/>
            <pc:sldMk cId="0" sldId="277"/>
            <ac:spMk id="29" creationId="{96DA9549-775D-45E9-B4E1-D1F67ABD5C07}"/>
          </ac:spMkLst>
        </pc:spChg>
        <pc:spChg chg="mod">
          <ac:chgData name="Pirone, Chiara" userId="d9d5b965-323f-43ee-9ca8-6b95d06dc7f9" providerId="ADAL" clId="{EEA06CB2-82F2-4ED8-9229-4AD4686F732E}" dt="2022-05-17T10:42:25.841" v="6805" actId="12789"/>
          <ac:spMkLst>
            <pc:docMk/>
            <pc:sldMk cId="0" sldId="277"/>
            <ac:spMk id="32" creationId="{2BF942A9-3542-4642-BD23-7D813DEB3663}"/>
          </ac:spMkLst>
        </pc:spChg>
        <pc:spChg chg="mod">
          <ac:chgData name="Pirone, Chiara" userId="d9d5b965-323f-43ee-9ca8-6b95d06dc7f9" providerId="ADAL" clId="{EEA06CB2-82F2-4ED8-9229-4AD4686F732E}" dt="2022-05-17T10:42:25.841" v="6805" actId="12789"/>
          <ac:spMkLst>
            <pc:docMk/>
            <pc:sldMk cId="0" sldId="277"/>
            <ac:spMk id="35" creationId="{87D02E22-D530-46E0-82DC-AA66787CBAFA}"/>
          </ac:spMkLst>
        </pc:spChg>
        <pc:spChg chg="mod">
          <ac:chgData name="Pirone, Chiara" userId="d9d5b965-323f-43ee-9ca8-6b95d06dc7f9" providerId="ADAL" clId="{EEA06CB2-82F2-4ED8-9229-4AD4686F732E}" dt="2022-05-17T10:42:25.841" v="6805" actId="12789"/>
          <ac:spMkLst>
            <pc:docMk/>
            <pc:sldMk cId="0" sldId="277"/>
            <ac:spMk id="36" creationId="{8EBA28A5-3070-4C35-B667-1188C33E6561}"/>
          </ac:spMkLst>
        </pc:spChg>
        <pc:spChg chg="mod">
          <ac:chgData name="Pirone, Chiara" userId="d9d5b965-323f-43ee-9ca8-6b95d06dc7f9" providerId="ADAL" clId="{EEA06CB2-82F2-4ED8-9229-4AD4686F732E}" dt="2022-05-17T10:42:25.841" v="6805" actId="12789"/>
          <ac:spMkLst>
            <pc:docMk/>
            <pc:sldMk cId="0" sldId="277"/>
            <ac:spMk id="37" creationId="{69AAF9CC-475D-4CEE-A0FC-C634CCD9C674}"/>
          </ac:spMkLst>
        </pc:spChg>
        <pc:spChg chg="mod">
          <ac:chgData name="Pirone, Chiara" userId="d9d5b965-323f-43ee-9ca8-6b95d06dc7f9" providerId="ADAL" clId="{EEA06CB2-82F2-4ED8-9229-4AD4686F732E}" dt="2022-05-17T10:42:35.559" v="6808" actId="12789"/>
          <ac:spMkLst>
            <pc:docMk/>
            <pc:sldMk cId="0" sldId="277"/>
            <ac:spMk id="42" creationId="{4329C9C7-AA6E-4A35-A36F-CE656C44A93E}"/>
          </ac:spMkLst>
        </pc:spChg>
        <pc:spChg chg="mod">
          <ac:chgData name="Pirone, Chiara" userId="d9d5b965-323f-43ee-9ca8-6b95d06dc7f9" providerId="ADAL" clId="{EEA06CB2-82F2-4ED8-9229-4AD4686F732E}" dt="2022-05-17T10:42:43.536" v="6810" actId="12789"/>
          <ac:spMkLst>
            <pc:docMk/>
            <pc:sldMk cId="0" sldId="277"/>
            <ac:spMk id="46" creationId="{A1B6FEFC-C424-4353-ACC6-45E7F06EDB69}"/>
          </ac:spMkLst>
        </pc:spChg>
        <pc:spChg chg="mod">
          <ac:chgData name="Pirone, Chiara" userId="d9d5b965-323f-43ee-9ca8-6b95d06dc7f9" providerId="ADAL" clId="{EEA06CB2-82F2-4ED8-9229-4AD4686F732E}" dt="2022-05-17T10:42:51.609" v="6812" actId="12789"/>
          <ac:spMkLst>
            <pc:docMk/>
            <pc:sldMk cId="0" sldId="277"/>
            <ac:spMk id="50" creationId="{9D746141-12B1-4B83-9D76-AED434227414}"/>
          </ac:spMkLst>
        </pc:spChg>
        <pc:spChg chg="mod">
          <ac:chgData name="Pirone, Chiara" userId="d9d5b965-323f-43ee-9ca8-6b95d06dc7f9" providerId="ADAL" clId="{EEA06CB2-82F2-4ED8-9229-4AD4686F732E}" dt="2022-05-17T10:42:58.696" v="6814" actId="12789"/>
          <ac:spMkLst>
            <pc:docMk/>
            <pc:sldMk cId="0" sldId="277"/>
            <ac:spMk id="54" creationId="{F98049FB-9D1A-4038-9637-23C6FBC7F5F8}"/>
          </ac:spMkLst>
        </pc:spChg>
        <pc:spChg chg="mod">
          <ac:chgData name="Pirone, Chiara" userId="d9d5b965-323f-43ee-9ca8-6b95d06dc7f9" providerId="ADAL" clId="{EEA06CB2-82F2-4ED8-9229-4AD4686F732E}" dt="2022-05-17T10:43:04.571" v="6816" actId="12789"/>
          <ac:spMkLst>
            <pc:docMk/>
            <pc:sldMk cId="0" sldId="277"/>
            <ac:spMk id="58" creationId="{9FCDBFA5-AB83-4193-8864-2C92343AA8E2}"/>
          </ac:spMkLst>
        </pc:spChg>
        <pc:spChg chg="mod">
          <ac:chgData name="Pirone, Chiara" userId="d9d5b965-323f-43ee-9ca8-6b95d06dc7f9" providerId="ADAL" clId="{EEA06CB2-82F2-4ED8-9229-4AD4686F732E}" dt="2022-05-17T10:42:58.696" v="6814" actId="12789"/>
          <ac:spMkLst>
            <pc:docMk/>
            <pc:sldMk cId="0" sldId="277"/>
            <ac:spMk id="74" creationId="{A5FC4F13-027C-4C5E-9AAB-1D18E6B4BA1E}"/>
          </ac:spMkLst>
        </pc:spChg>
        <pc:spChg chg="mod">
          <ac:chgData name="Pirone, Chiara" userId="d9d5b965-323f-43ee-9ca8-6b95d06dc7f9" providerId="ADAL" clId="{EEA06CB2-82F2-4ED8-9229-4AD4686F732E}" dt="2022-05-17T10:43:04.571" v="6816" actId="12789"/>
          <ac:spMkLst>
            <pc:docMk/>
            <pc:sldMk cId="0" sldId="277"/>
            <ac:spMk id="75" creationId="{301CDBD1-077A-4F46-8EF0-90F58B325558}"/>
          </ac:spMkLst>
        </pc:spChg>
        <pc:spChg chg="mod">
          <ac:chgData name="Pirone, Chiara" userId="d9d5b965-323f-43ee-9ca8-6b95d06dc7f9" providerId="ADAL" clId="{EEA06CB2-82F2-4ED8-9229-4AD4686F732E}" dt="2022-05-17T10:42:13.292" v="6803" actId="404"/>
          <ac:spMkLst>
            <pc:docMk/>
            <pc:sldMk cId="0" sldId="277"/>
            <ac:spMk id="80" creationId="{D7AC5AA0-4251-46F6-84A4-83B857B9AAD0}"/>
          </ac:spMkLst>
        </pc:spChg>
        <pc:spChg chg="mod">
          <ac:chgData name="Pirone, Chiara" userId="d9d5b965-323f-43ee-9ca8-6b95d06dc7f9" providerId="ADAL" clId="{EEA06CB2-82F2-4ED8-9229-4AD4686F732E}" dt="2022-05-17T10:42:13.292" v="6803" actId="404"/>
          <ac:spMkLst>
            <pc:docMk/>
            <pc:sldMk cId="0" sldId="277"/>
            <ac:spMk id="81" creationId="{A200E1DF-B53C-4657-B2A8-A043A5E97CBF}"/>
          </ac:spMkLst>
        </pc:spChg>
        <pc:spChg chg="mod">
          <ac:chgData name="Pirone, Chiara" userId="d9d5b965-323f-43ee-9ca8-6b95d06dc7f9" providerId="ADAL" clId="{EEA06CB2-82F2-4ED8-9229-4AD4686F732E}" dt="2022-05-17T10:42:13.292" v="6803" actId="404"/>
          <ac:spMkLst>
            <pc:docMk/>
            <pc:sldMk cId="0" sldId="277"/>
            <ac:spMk id="82" creationId="{2D5B07D1-1E9F-4696-83E8-F109D99BBEEA}"/>
          </ac:spMkLst>
        </pc:spChg>
        <pc:spChg chg="mod">
          <ac:chgData name="Pirone, Chiara" userId="d9d5b965-323f-43ee-9ca8-6b95d06dc7f9" providerId="ADAL" clId="{EEA06CB2-82F2-4ED8-9229-4AD4686F732E}" dt="2022-05-17T10:42:13.292" v="6803" actId="404"/>
          <ac:spMkLst>
            <pc:docMk/>
            <pc:sldMk cId="0" sldId="277"/>
            <ac:spMk id="83" creationId="{92B57B3F-F036-4DCC-9088-B692F510AF38}"/>
          </ac:spMkLst>
        </pc:spChg>
        <pc:spChg chg="mod">
          <ac:chgData name="Pirone, Chiara" userId="d9d5b965-323f-43ee-9ca8-6b95d06dc7f9" providerId="ADAL" clId="{EEA06CB2-82F2-4ED8-9229-4AD4686F732E}" dt="2022-05-17T10:42:51.609" v="6812" actId="12789"/>
          <ac:spMkLst>
            <pc:docMk/>
            <pc:sldMk cId="0" sldId="277"/>
            <ac:spMk id="86" creationId="{434E867C-CD50-46C7-B9E2-7A4BE6F6A85C}"/>
          </ac:spMkLst>
        </pc:spChg>
        <pc:spChg chg="mod">
          <ac:chgData name="Pirone, Chiara" userId="d9d5b965-323f-43ee-9ca8-6b95d06dc7f9" providerId="ADAL" clId="{EEA06CB2-82F2-4ED8-9229-4AD4686F732E}" dt="2022-05-17T10:42:13.292" v="6803" actId="404"/>
          <ac:spMkLst>
            <pc:docMk/>
            <pc:sldMk cId="0" sldId="277"/>
            <ac:spMk id="87" creationId="{CC6BF318-1955-4F11-A3E8-E9F6123B70E8}"/>
          </ac:spMkLst>
        </pc:spChg>
        <pc:spChg chg="mod">
          <ac:chgData name="Pirone, Chiara" userId="d9d5b965-323f-43ee-9ca8-6b95d06dc7f9" providerId="ADAL" clId="{EEA06CB2-82F2-4ED8-9229-4AD4686F732E}" dt="2022-05-17T10:42:13.292" v="6803" actId="404"/>
          <ac:spMkLst>
            <pc:docMk/>
            <pc:sldMk cId="0" sldId="277"/>
            <ac:spMk id="88" creationId="{DD17E69A-F91B-4E77-9F97-892E3771119D}"/>
          </ac:spMkLst>
        </pc:spChg>
        <pc:spChg chg="mod">
          <ac:chgData name="Pirone, Chiara" userId="d9d5b965-323f-43ee-9ca8-6b95d06dc7f9" providerId="ADAL" clId="{EEA06CB2-82F2-4ED8-9229-4AD4686F732E}" dt="2022-05-17T10:42:35.559" v="6808" actId="12789"/>
          <ac:spMkLst>
            <pc:docMk/>
            <pc:sldMk cId="0" sldId="277"/>
            <ac:spMk id="98" creationId="{80472A07-FFE1-491F-85AB-A2751F445A01}"/>
          </ac:spMkLst>
        </pc:spChg>
        <pc:spChg chg="mod">
          <ac:chgData name="Pirone, Chiara" userId="d9d5b965-323f-43ee-9ca8-6b95d06dc7f9" providerId="ADAL" clId="{EEA06CB2-82F2-4ED8-9229-4AD4686F732E}" dt="2022-05-17T10:42:13.292" v="6803" actId="404"/>
          <ac:spMkLst>
            <pc:docMk/>
            <pc:sldMk cId="0" sldId="277"/>
            <ac:spMk id="99" creationId="{9431CB7C-740E-4F72-AF20-0EFD469548C8}"/>
          </ac:spMkLst>
        </pc:spChg>
        <pc:spChg chg="mod">
          <ac:chgData name="Pirone, Chiara" userId="d9d5b965-323f-43ee-9ca8-6b95d06dc7f9" providerId="ADAL" clId="{EEA06CB2-82F2-4ED8-9229-4AD4686F732E}" dt="2022-05-17T10:42:13.292" v="6803" actId="404"/>
          <ac:spMkLst>
            <pc:docMk/>
            <pc:sldMk cId="0" sldId="277"/>
            <ac:spMk id="100" creationId="{420C32CB-41ED-42EC-B8F2-BFED370157EC}"/>
          </ac:spMkLst>
        </pc:spChg>
        <pc:spChg chg="mod">
          <ac:chgData name="Pirone, Chiara" userId="d9d5b965-323f-43ee-9ca8-6b95d06dc7f9" providerId="ADAL" clId="{EEA06CB2-82F2-4ED8-9229-4AD4686F732E}" dt="2022-05-17T10:42:43.536" v="6810" actId="12789"/>
          <ac:spMkLst>
            <pc:docMk/>
            <pc:sldMk cId="0" sldId="277"/>
            <ac:spMk id="103" creationId="{8CA55A56-BE2C-403B-B9D9-9764252ACDB3}"/>
          </ac:spMkLst>
        </pc:spChg>
        <pc:spChg chg="mod">
          <ac:chgData name="Pirone, Chiara" userId="d9d5b965-323f-43ee-9ca8-6b95d06dc7f9" providerId="ADAL" clId="{EEA06CB2-82F2-4ED8-9229-4AD4686F732E}" dt="2022-05-17T10:42:13.292" v="6803" actId="404"/>
          <ac:spMkLst>
            <pc:docMk/>
            <pc:sldMk cId="0" sldId="277"/>
            <ac:spMk id="104" creationId="{19662306-88BB-4C01-9C5D-03CD1C101DDD}"/>
          </ac:spMkLst>
        </pc:spChg>
        <pc:spChg chg="mod">
          <ac:chgData name="Pirone, Chiara" userId="d9d5b965-323f-43ee-9ca8-6b95d06dc7f9" providerId="ADAL" clId="{EEA06CB2-82F2-4ED8-9229-4AD4686F732E}" dt="2022-05-17T10:42:13.292" v="6803" actId="404"/>
          <ac:spMkLst>
            <pc:docMk/>
            <pc:sldMk cId="0" sldId="277"/>
            <ac:spMk id="105" creationId="{E95A1A6A-3371-4DE0-8BEA-AB942B3CF501}"/>
          </ac:spMkLst>
        </pc:spChg>
        <pc:grpChg chg="mod">
          <ac:chgData name="Pirone, Chiara" userId="d9d5b965-323f-43ee-9ca8-6b95d06dc7f9" providerId="ADAL" clId="{EEA06CB2-82F2-4ED8-9229-4AD4686F732E}" dt="2022-05-17T10:42:35.559" v="6808" actId="12789"/>
          <ac:grpSpMkLst>
            <pc:docMk/>
            <pc:sldMk cId="0" sldId="277"/>
            <ac:grpSpMk id="110" creationId="{9CF34285-EAB2-4B7C-AFC3-E3D686A0E020}"/>
          </ac:grpSpMkLst>
        </pc:grpChg>
        <pc:grpChg chg="mod">
          <ac:chgData name="Pirone, Chiara" userId="d9d5b965-323f-43ee-9ca8-6b95d06dc7f9" providerId="ADAL" clId="{EEA06CB2-82F2-4ED8-9229-4AD4686F732E}" dt="2022-05-17T10:42:43.536" v="6810" actId="12789"/>
          <ac:grpSpMkLst>
            <pc:docMk/>
            <pc:sldMk cId="0" sldId="277"/>
            <ac:grpSpMk id="112" creationId="{C1E0AFF1-CC6C-45AA-AEC4-BF4100ECAF44}"/>
          </ac:grpSpMkLst>
        </pc:grpChg>
        <pc:grpChg chg="mod">
          <ac:chgData name="Pirone, Chiara" userId="d9d5b965-323f-43ee-9ca8-6b95d06dc7f9" providerId="ADAL" clId="{EEA06CB2-82F2-4ED8-9229-4AD4686F732E}" dt="2022-05-17T10:42:51.609" v="6812" actId="12789"/>
          <ac:grpSpMkLst>
            <pc:docMk/>
            <pc:sldMk cId="0" sldId="277"/>
            <ac:grpSpMk id="117" creationId="{6B8BC8C9-A541-43E8-B7F3-92C677254FB2}"/>
          </ac:grpSpMkLst>
        </pc:grpChg>
        <pc:grpChg chg="mod">
          <ac:chgData name="Pirone, Chiara" userId="d9d5b965-323f-43ee-9ca8-6b95d06dc7f9" providerId="ADAL" clId="{EEA06CB2-82F2-4ED8-9229-4AD4686F732E}" dt="2022-05-17T10:42:58.696" v="6814" actId="12789"/>
          <ac:grpSpMkLst>
            <pc:docMk/>
            <pc:sldMk cId="0" sldId="277"/>
            <ac:grpSpMk id="118" creationId="{E248CE46-FCFF-4A74-94EF-5A56005DE2A0}"/>
          </ac:grpSpMkLst>
        </pc:grpChg>
        <pc:grpChg chg="mod">
          <ac:chgData name="Pirone, Chiara" userId="d9d5b965-323f-43ee-9ca8-6b95d06dc7f9" providerId="ADAL" clId="{EEA06CB2-82F2-4ED8-9229-4AD4686F732E}" dt="2022-05-17T10:43:04.571" v="6816" actId="12789"/>
          <ac:grpSpMkLst>
            <pc:docMk/>
            <pc:sldMk cId="0" sldId="277"/>
            <ac:grpSpMk id="119" creationId="{0BDACB36-E8F7-4BD4-9520-DBF40614366A}"/>
          </ac:grpSpMkLst>
        </pc:grpChg>
        <pc:graphicFrameChg chg="mod">
          <ac:chgData name="Pirone, Chiara" userId="d9d5b965-323f-43ee-9ca8-6b95d06dc7f9" providerId="ADAL" clId="{EEA06CB2-82F2-4ED8-9229-4AD4686F732E}" dt="2022-05-17T10:41:12.880" v="6782" actId="2711"/>
          <ac:graphicFrameMkLst>
            <pc:docMk/>
            <pc:sldMk cId="0" sldId="277"/>
            <ac:graphicFrameMk id="22" creationId="{2F995195-6914-40C4-9B18-F26646ABF412}"/>
          </ac:graphicFrameMkLst>
        </pc:graphicFrameChg>
        <pc:picChg chg="add del mod">
          <ac:chgData name="Pirone, Chiara" userId="d9d5b965-323f-43ee-9ca8-6b95d06dc7f9" providerId="ADAL" clId="{EEA06CB2-82F2-4ED8-9229-4AD4686F732E}" dt="2022-05-17T10:55:30.116" v="7224" actId="478"/>
          <ac:picMkLst>
            <pc:docMk/>
            <pc:sldMk cId="0" sldId="277"/>
            <ac:picMk id="43" creationId="{C0A0DE7A-5D7A-456F-99C8-EF2648900EAA}"/>
          </ac:picMkLst>
        </pc:picChg>
        <pc:picChg chg="add mod">
          <ac:chgData name="Pirone, Chiara" userId="d9d5b965-323f-43ee-9ca8-6b95d06dc7f9" providerId="ADAL" clId="{EEA06CB2-82F2-4ED8-9229-4AD4686F732E}" dt="2022-05-17T10:55:49.289" v="7240"/>
          <ac:picMkLst>
            <pc:docMk/>
            <pc:sldMk cId="0" sldId="277"/>
            <ac:picMk id="44" creationId="{124335BE-AF2D-4BA1-8E14-EAF0C11030E5}"/>
          </ac:picMkLst>
        </pc:picChg>
        <pc:picChg chg="mod">
          <ac:chgData name="Pirone, Chiara" userId="d9d5b965-323f-43ee-9ca8-6b95d06dc7f9" providerId="ADAL" clId="{EEA06CB2-82F2-4ED8-9229-4AD4686F732E}" dt="2022-05-17T10:41:22.239" v="6783" actId="167"/>
          <ac:picMkLst>
            <pc:docMk/>
            <pc:sldMk cId="0" sldId="277"/>
            <ac:picMk id="4098" creationId="{DE23CAF0-63BB-44BB-A0EE-1C6DDCC0D751}"/>
          </ac:picMkLst>
        </pc:picChg>
      </pc:sldChg>
      <pc:sldChg chg="del mod ord modShow">
        <pc:chgData name="Pirone, Chiara" userId="d9d5b965-323f-43ee-9ca8-6b95d06dc7f9" providerId="ADAL" clId="{EEA06CB2-82F2-4ED8-9229-4AD4686F732E}" dt="2022-05-16T15:24:20.133" v="5400" actId="47"/>
        <pc:sldMkLst>
          <pc:docMk/>
          <pc:sldMk cId="670692755" sldId="3611"/>
        </pc:sldMkLst>
      </pc:sldChg>
      <pc:sldChg chg="modSp add del mod ord modShow">
        <pc:chgData name="Pirone, Chiara" userId="d9d5b965-323f-43ee-9ca8-6b95d06dc7f9" providerId="ADAL" clId="{EEA06CB2-82F2-4ED8-9229-4AD4686F732E}" dt="2022-05-17T10:50:51.523" v="7050" actId="47"/>
        <pc:sldMkLst>
          <pc:docMk/>
          <pc:sldMk cId="2809133425" sldId="2146848133"/>
        </pc:sldMkLst>
        <pc:spChg chg="mod">
          <ac:chgData name="Pirone, Chiara" userId="d9d5b965-323f-43ee-9ca8-6b95d06dc7f9" providerId="ADAL" clId="{EEA06CB2-82F2-4ED8-9229-4AD4686F732E}" dt="2022-05-17T10:49:52.333" v="7023" actId="2711"/>
          <ac:spMkLst>
            <pc:docMk/>
            <pc:sldMk cId="2809133425" sldId="2146848133"/>
            <ac:spMk id="3" creationId="{FAEA25EB-59B0-A441-983C-A86DA945AE64}"/>
          </ac:spMkLst>
        </pc:spChg>
        <pc:spChg chg="mod">
          <ac:chgData name="Pirone, Chiara" userId="d9d5b965-323f-43ee-9ca8-6b95d06dc7f9" providerId="ADAL" clId="{EEA06CB2-82F2-4ED8-9229-4AD4686F732E}" dt="2022-05-17T10:49:52.333" v="7023" actId="2711"/>
          <ac:spMkLst>
            <pc:docMk/>
            <pc:sldMk cId="2809133425" sldId="2146848133"/>
            <ac:spMk id="5" creationId="{71FC05DF-1049-4298-B58D-4B607A3411D2}"/>
          </ac:spMkLst>
        </pc:spChg>
        <pc:spChg chg="mod">
          <ac:chgData name="Pirone, Chiara" userId="d9d5b965-323f-43ee-9ca8-6b95d06dc7f9" providerId="ADAL" clId="{EEA06CB2-82F2-4ED8-9229-4AD4686F732E}" dt="2022-05-17T10:49:52.333" v="7023" actId="2711"/>
          <ac:spMkLst>
            <pc:docMk/>
            <pc:sldMk cId="2809133425" sldId="2146848133"/>
            <ac:spMk id="9" creationId="{29F2E4FC-0F75-44E8-BC86-276F317A45C2}"/>
          </ac:spMkLst>
        </pc:spChg>
        <pc:spChg chg="mod">
          <ac:chgData name="Pirone, Chiara" userId="d9d5b965-323f-43ee-9ca8-6b95d06dc7f9" providerId="ADAL" clId="{EEA06CB2-82F2-4ED8-9229-4AD4686F732E}" dt="2022-05-17T10:49:52.333" v="7023" actId="2711"/>
          <ac:spMkLst>
            <pc:docMk/>
            <pc:sldMk cId="2809133425" sldId="2146848133"/>
            <ac:spMk id="11" creationId="{7F9B95AF-17CC-4A93-9BB7-04D23ADBF3BF}"/>
          </ac:spMkLst>
        </pc:spChg>
        <pc:spChg chg="mod">
          <ac:chgData name="Pirone, Chiara" userId="d9d5b965-323f-43ee-9ca8-6b95d06dc7f9" providerId="ADAL" clId="{EEA06CB2-82F2-4ED8-9229-4AD4686F732E}" dt="2022-05-17T10:49:52.333" v="7023" actId="2711"/>
          <ac:spMkLst>
            <pc:docMk/>
            <pc:sldMk cId="2809133425" sldId="2146848133"/>
            <ac:spMk id="12" creationId="{B4080D46-A063-4AEC-92B1-A2880B57B89A}"/>
          </ac:spMkLst>
        </pc:spChg>
        <pc:spChg chg="mod">
          <ac:chgData name="Pirone, Chiara" userId="d9d5b965-323f-43ee-9ca8-6b95d06dc7f9" providerId="ADAL" clId="{EEA06CB2-82F2-4ED8-9229-4AD4686F732E}" dt="2022-05-17T10:49:52.333" v="7023" actId="2711"/>
          <ac:spMkLst>
            <pc:docMk/>
            <pc:sldMk cId="2809133425" sldId="2146848133"/>
            <ac:spMk id="13" creationId="{A4DAF590-3B68-4220-B7EA-816A3F2694C4}"/>
          </ac:spMkLst>
        </pc:spChg>
        <pc:spChg chg="mod">
          <ac:chgData name="Pirone, Chiara" userId="d9d5b965-323f-43ee-9ca8-6b95d06dc7f9" providerId="ADAL" clId="{EEA06CB2-82F2-4ED8-9229-4AD4686F732E}" dt="2022-05-17T10:49:52.333" v="7023" actId="2711"/>
          <ac:spMkLst>
            <pc:docMk/>
            <pc:sldMk cId="2809133425" sldId="2146848133"/>
            <ac:spMk id="14" creationId="{D94B092A-A10B-400F-BFB9-BD92B1AC5FE7}"/>
          </ac:spMkLst>
        </pc:spChg>
        <pc:spChg chg="mod">
          <ac:chgData name="Pirone, Chiara" userId="d9d5b965-323f-43ee-9ca8-6b95d06dc7f9" providerId="ADAL" clId="{EEA06CB2-82F2-4ED8-9229-4AD4686F732E}" dt="2022-05-17T10:49:52.333" v="7023" actId="2711"/>
          <ac:spMkLst>
            <pc:docMk/>
            <pc:sldMk cId="2809133425" sldId="2146848133"/>
            <ac:spMk id="16" creationId="{89F9CA1E-5806-4CD0-A106-530743F839CD}"/>
          </ac:spMkLst>
        </pc:spChg>
        <pc:spChg chg="mod">
          <ac:chgData name="Pirone, Chiara" userId="d9d5b965-323f-43ee-9ca8-6b95d06dc7f9" providerId="ADAL" clId="{EEA06CB2-82F2-4ED8-9229-4AD4686F732E}" dt="2022-05-17T10:49:52.333" v="7023" actId="2711"/>
          <ac:spMkLst>
            <pc:docMk/>
            <pc:sldMk cId="2809133425" sldId="2146848133"/>
            <ac:spMk id="17" creationId="{98E6E25E-3681-4E72-B035-7C1B4B177C46}"/>
          </ac:spMkLst>
        </pc:spChg>
        <pc:spChg chg="mod">
          <ac:chgData name="Pirone, Chiara" userId="d9d5b965-323f-43ee-9ca8-6b95d06dc7f9" providerId="ADAL" clId="{EEA06CB2-82F2-4ED8-9229-4AD4686F732E}" dt="2022-05-17T10:49:52.333" v="7023" actId="2711"/>
          <ac:spMkLst>
            <pc:docMk/>
            <pc:sldMk cId="2809133425" sldId="2146848133"/>
            <ac:spMk id="18" creationId="{538C4FF7-EAAB-44D4-986D-5FED3EDFA3D4}"/>
          </ac:spMkLst>
        </pc:spChg>
        <pc:spChg chg="mod">
          <ac:chgData name="Pirone, Chiara" userId="d9d5b965-323f-43ee-9ca8-6b95d06dc7f9" providerId="ADAL" clId="{EEA06CB2-82F2-4ED8-9229-4AD4686F732E}" dt="2022-05-17T10:49:52.333" v="7023" actId="2711"/>
          <ac:spMkLst>
            <pc:docMk/>
            <pc:sldMk cId="2809133425" sldId="2146848133"/>
            <ac:spMk id="19" creationId="{9EFCBB44-7A1C-4675-BCF1-DC4F496F158A}"/>
          </ac:spMkLst>
        </pc:spChg>
        <pc:spChg chg="mod">
          <ac:chgData name="Pirone, Chiara" userId="d9d5b965-323f-43ee-9ca8-6b95d06dc7f9" providerId="ADAL" clId="{EEA06CB2-82F2-4ED8-9229-4AD4686F732E}" dt="2022-05-17T10:49:52.333" v="7023" actId="2711"/>
          <ac:spMkLst>
            <pc:docMk/>
            <pc:sldMk cId="2809133425" sldId="2146848133"/>
            <ac:spMk id="31" creationId="{C1998E81-ECC6-446B-9A97-2D6260B37A22}"/>
          </ac:spMkLst>
        </pc:spChg>
        <pc:grpChg chg="mod">
          <ac:chgData name="Pirone, Chiara" userId="d9d5b965-323f-43ee-9ca8-6b95d06dc7f9" providerId="ADAL" clId="{EEA06CB2-82F2-4ED8-9229-4AD4686F732E}" dt="2022-05-17T10:49:52.333" v="7023" actId="2711"/>
          <ac:grpSpMkLst>
            <pc:docMk/>
            <pc:sldMk cId="2809133425" sldId="2146848133"/>
            <ac:grpSpMk id="41" creationId="{79977DA5-27AE-7946-87B5-E797AC1B21C1}"/>
          </ac:grpSpMkLst>
        </pc:grpChg>
        <pc:picChg chg="mod">
          <ac:chgData name="Pirone, Chiara" userId="d9d5b965-323f-43ee-9ca8-6b95d06dc7f9" providerId="ADAL" clId="{EEA06CB2-82F2-4ED8-9229-4AD4686F732E}" dt="2022-05-17T10:49:52.333" v="7023" actId="2711"/>
          <ac:picMkLst>
            <pc:docMk/>
            <pc:sldMk cId="2809133425" sldId="2146848133"/>
            <ac:picMk id="39" creationId="{77AF6685-3D74-9041-9E97-A0671C39BAC6}"/>
          </ac:picMkLst>
        </pc:picChg>
        <pc:picChg chg="mod">
          <ac:chgData name="Pirone, Chiara" userId="d9d5b965-323f-43ee-9ca8-6b95d06dc7f9" providerId="ADAL" clId="{EEA06CB2-82F2-4ED8-9229-4AD4686F732E}" dt="2022-05-17T10:49:52.333" v="7023" actId="2711"/>
          <ac:picMkLst>
            <pc:docMk/>
            <pc:sldMk cId="2809133425" sldId="2146848133"/>
            <ac:picMk id="40" creationId="{CF127CDB-7FF2-174D-AFAE-38735794DC3F}"/>
          </ac:picMkLst>
        </pc:picChg>
      </pc:sldChg>
      <pc:sldChg chg="del">
        <pc:chgData name="Pirone, Chiara" userId="d9d5b965-323f-43ee-9ca8-6b95d06dc7f9" providerId="ADAL" clId="{EEA06CB2-82F2-4ED8-9229-4AD4686F732E}" dt="2022-05-13T07:57:51.029" v="119" actId="47"/>
        <pc:sldMkLst>
          <pc:docMk/>
          <pc:sldMk cId="3629858594" sldId="2146848139"/>
        </pc:sldMkLst>
      </pc:sldChg>
      <pc:sldChg chg="add mod ord setBg modShow">
        <pc:chgData name="Pirone, Chiara" userId="d9d5b965-323f-43ee-9ca8-6b95d06dc7f9" providerId="ADAL" clId="{EEA06CB2-82F2-4ED8-9229-4AD4686F732E}" dt="2022-05-17T11:13:51.792" v="7680"/>
        <pc:sldMkLst>
          <pc:docMk/>
          <pc:sldMk cId="3209305554" sldId="2146848140"/>
        </pc:sldMkLst>
      </pc:sldChg>
      <pc:sldChg chg="del mod ord modShow">
        <pc:chgData name="Pirone, Chiara" userId="d9d5b965-323f-43ee-9ca8-6b95d06dc7f9" providerId="ADAL" clId="{EEA06CB2-82F2-4ED8-9229-4AD4686F732E}" dt="2022-05-16T15:24:20.133" v="5400" actId="47"/>
        <pc:sldMkLst>
          <pc:docMk/>
          <pc:sldMk cId="2387388031" sldId="2147375119"/>
        </pc:sldMkLst>
      </pc:sldChg>
      <pc:sldChg chg="modSp del mod ord modShow">
        <pc:chgData name="Pirone, Chiara" userId="d9d5b965-323f-43ee-9ca8-6b95d06dc7f9" providerId="ADAL" clId="{EEA06CB2-82F2-4ED8-9229-4AD4686F732E}" dt="2022-05-16T15:24:20.133" v="5400" actId="47"/>
        <pc:sldMkLst>
          <pc:docMk/>
          <pc:sldMk cId="1527442387" sldId="2147375127"/>
        </pc:sldMkLst>
        <pc:spChg chg="mod">
          <ac:chgData name="Pirone, Chiara" userId="d9d5b965-323f-43ee-9ca8-6b95d06dc7f9" providerId="ADAL" clId="{EEA06CB2-82F2-4ED8-9229-4AD4686F732E}" dt="2022-05-13T09:10:47.842" v="1122" actId="113"/>
          <ac:spMkLst>
            <pc:docMk/>
            <pc:sldMk cId="1527442387" sldId="2147375127"/>
            <ac:spMk id="11" creationId="{FCB594F3-8FF3-4F63-B609-1A71669D1F07}"/>
          </ac:spMkLst>
        </pc:spChg>
      </pc:sldChg>
      <pc:sldChg chg="modSp del mod ord">
        <pc:chgData name="Pirone, Chiara" userId="d9d5b965-323f-43ee-9ca8-6b95d06dc7f9" providerId="ADAL" clId="{EEA06CB2-82F2-4ED8-9229-4AD4686F732E}" dt="2022-05-16T15:24:20.133" v="5400" actId="47"/>
        <pc:sldMkLst>
          <pc:docMk/>
          <pc:sldMk cId="2160538873" sldId="2147375129"/>
        </pc:sldMkLst>
        <pc:spChg chg="mod">
          <ac:chgData name="Pirone, Chiara" userId="d9d5b965-323f-43ee-9ca8-6b95d06dc7f9" providerId="ADAL" clId="{EEA06CB2-82F2-4ED8-9229-4AD4686F732E}" dt="2022-05-13T09:11:08.712" v="1143" actId="1076"/>
          <ac:spMkLst>
            <pc:docMk/>
            <pc:sldMk cId="2160538873" sldId="2147375129"/>
            <ac:spMk id="2" creationId="{ED6D9981-4C97-4C97-815A-4C61D35B69CD}"/>
          </ac:spMkLst>
        </pc:spChg>
      </pc:sldChg>
      <pc:sldChg chg="del mod ord modShow">
        <pc:chgData name="Pirone, Chiara" userId="d9d5b965-323f-43ee-9ca8-6b95d06dc7f9" providerId="ADAL" clId="{EEA06CB2-82F2-4ED8-9229-4AD4686F732E}" dt="2022-05-16T15:24:20.133" v="5400" actId="47"/>
        <pc:sldMkLst>
          <pc:docMk/>
          <pc:sldMk cId="4133243895" sldId="2147375130"/>
        </pc:sldMkLst>
      </pc:sldChg>
      <pc:sldChg chg="del mod ord modShow">
        <pc:chgData name="Pirone, Chiara" userId="d9d5b965-323f-43ee-9ca8-6b95d06dc7f9" providerId="ADAL" clId="{EEA06CB2-82F2-4ED8-9229-4AD4686F732E}" dt="2022-05-16T15:24:20.133" v="5400" actId="47"/>
        <pc:sldMkLst>
          <pc:docMk/>
          <pc:sldMk cId="4141341777" sldId="2147375131"/>
        </pc:sldMkLst>
      </pc:sldChg>
      <pc:sldChg chg="del mod ord modShow">
        <pc:chgData name="Pirone, Chiara" userId="d9d5b965-323f-43ee-9ca8-6b95d06dc7f9" providerId="ADAL" clId="{EEA06CB2-82F2-4ED8-9229-4AD4686F732E}" dt="2022-05-16T15:24:20.133" v="5400" actId="47"/>
        <pc:sldMkLst>
          <pc:docMk/>
          <pc:sldMk cId="1336763680" sldId="2147375132"/>
        </pc:sldMkLst>
      </pc:sldChg>
      <pc:sldChg chg="del">
        <pc:chgData name="Pirone, Chiara" userId="d9d5b965-323f-43ee-9ca8-6b95d06dc7f9" providerId="ADAL" clId="{EEA06CB2-82F2-4ED8-9229-4AD4686F732E}" dt="2022-05-13T08:03:16.512" v="621" actId="47"/>
        <pc:sldMkLst>
          <pc:docMk/>
          <pc:sldMk cId="1561212288" sldId="2147375203"/>
        </pc:sldMkLst>
      </pc:sldChg>
      <pc:sldChg chg="del">
        <pc:chgData name="Pirone, Chiara" userId="d9d5b965-323f-43ee-9ca8-6b95d06dc7f9" providerId="ADAL" clId="{EEA06CB2-82F2-4ED8-9229-4AD4686F732E}" dt="2022-05-13T09:28:54.193" v="1461" actId="47"/>
        <pc:sldMkLst>
          <pc:docMk/>
          <pc:sldMk cId="2316790740" sldId="2147375245"/>
        </pc:sldMkLst>
      </pc:sldChg>
      <pc:sldChg chg="addSp delSp modSp mod">
        <pc:chgData name="Pirone, Chiara" userId="d9d5b965-323f-43ee-9ca8-6b95d06dc7f9" providerId="ADAL" clId="{EEA06CB2-82F2-4ED8-9229-4AD4686F732E}" dt="2022-05-16T09:51:03.513" v="3465" actId="1076"/>
        <pc:sldMkLst>
          <pc:docMk/>
          <pc:sldMk cId="1041639984" sldId="2147375246"/>
        </pc:sldMkLst>
        <pc:spChg chg="add del mod">
          <ac:chgData name="Pirone, Chiara" userId="d9d5b965-323f-43ee-9ca8-6b95d06dc7f9" providerId="ADAL" clId="{EEA06CB2-82F2-4ED8-9229-4AD4686F732E}" dt="2022-05-13T08:13:28.881" v="938" actId="478"/>
          <ac:spMkLst>
            <pc:docMk/>
            <pc:sldMk cId="1041639984" sldId="2147375246"/>
            <ac:spMk id="3" creationId="{95A2D680-3D71-4E7D-AB22-D1D0EAD70C29}"/>
          </ac:spMkLst>
        </pc:spChg>
        <pc:spChg chg="add mod">
          <ac:chgData name="Pirone, Chiara" userId="d9d5b965-323f-43ee-9ca8-6b95d06dc7f9" providerId="ADAL" clId="{EEA06CB2-82F2-4ED8-9229-4AD4686F732E}" dt="2022-05-16T09:51:03.513" v="3465" actId="1076"/>
          <ac:spMkLst>
            <pc:docMk/>
            <pc:sldMk cId="1041639984" sldId="2147375246"/>
            <ac:spMk id="5" creationId="{961B42C2-5748-4FA9-A1F4-6E14EC4C789D}"/>
          </ac:spMkLst>
        </pc:spChg>
        <pc:spChg chg="mod">
          <ac:chgData name="Pirone, Chiara" userId="d9d5b965-323f-43ee-9ca8-6b95d06dc7f9" providerId="ADAL" clId="{EEA06CB2-82F2-4ED8-9229-4AD4686F732E}" dt="2022-05-16T09:50:47.922" v="3449" actId="1035"/>
          <ac:spMkLst>
            <pc:docMk/>
            <pc:sldMk cId="1041639984" sldId="2147375246"/>
            <ac:spMk id="6" creationId="{35C324C2-282C-544A-A15D-7EDD28437F20}"/>
          </ac:spMkLst>
        </pc:spChg>
        <pc:spChg chg="del mod">
          <ac:chgData name="Pirone, Chiara" userId="d9d5b965-323f-43ee-9ca8-6b95d06dc7f9" providerId="ADAL" clId="{EEA06CB2-82F2-4ED8-9229-4AD4686F732E}" dt="2022-05-13T08:13:27.639" v="937" actId="478"/>
          <ac:spMkLst>
            <pc:docMk/>
            <pc:sldMk cId="1041639984" sldId="2147375246"/>
            <ac:spMk id="8" creationId="{EB4663B7-6AFF-4A46-AB51-90B505CFD559}"/>
          </ac:spMkLst>
        </pc:spChg>
        <pc:picChg chg="add mod">
          <ac:chgData name="Pirone, Chiara" userId="d9d5b965-323f-43ee-9ca8-6b95d06dc7f9" providerId="ADAL" clId="{EEA06CB2-82F2-4ED8-9229-4AD4686F732E}" dt="2022-05-13T08:03:01.104" v="620" actId="1076"/>
          <ac:picMkLst>
            <pc:docMk/>
            <pc:sldMk cId="1041639984" sldId="2147375246"/>
            <ac:picMk id="4" creationId="{15AAA7B0-2D86-4B79-A4D7-DB07CF0B954C}"/>
          </ac:picMkLst>
        </pc:picChg>
      </pc:sldChg>
      <pc:sldChg chg="delSp del mod">
        <pc:chgData name="Pirone, Chiara" userId="d9d5b965-323f-43ee-9ca8-6b95d06dc7f9" providerId="ADAL" clId="{EEA06CB2-82F2-4ED8-9229-4AD4686F732E}" dt="2022-05-13T09:28:54.193" v="1461" actId="47"/>
        <pc:sldMkLst>
          <pc:docMk/>
          <pc:sldMk cId="3578660289" sldId="2147375247"/>
        </pc:sldMkLst>
        <pc:spChg chg="del">
          <ac:chgData name="Pirone, Chiara" userId="d9d5b965-323f-43ee-9ca8-6b95d06dc7f9" providerId="ADAL" clId="{EEA06CB2-82F2-4ED8-9229-4AD4686F732E}" dt="2022-05-13T09:28:11.929" v="1396" actId="21"/>
          <ac:spMkLst>
            <pc:docMk/>
            <pc:sldMk cId="3578660289" sldId="2147375247"/>
            <ac:spMk id="24" creationId="{9EEF4B26-7261-4FFA-8729-4DB996343658}"/>
          </ac:spMkLst>
        </pc:spChg>
      </pc:sldChg>
      <pc:sldChg chg="del">
        <pc:chgData name="Pirone, Chiara" userId="d9d5b965-323f-43ee-9ca8-6b95d06dc7f9" providerId="ADAL" clId="{EEA06CB2-82F2-4ED8-9229-4AD4686F732E}" dt="2022-05-13T09:28:54.193" v="1461" actId="47"/>
        <pc:sldMkLst>
          <pc:docMk/>
          <pc:sldMk cId="3802268666" sldId="2147375248"/>
        </pc:sldMkLst>
      </pc:sldChg>
      <pc:sldChg chg="del">
        <pc:chgData name="Pirone, Chiara" userId="d9d5b965-323f-43ee-9ca8-6b95d06dc7f9" providerId="ADAL" clId="{EEA06CB2-82F2-4ED8-9229-4AD4686F732E}" dt="2022-05-13T09:28:54.193" v="1461" actId="47"/>
        <pc:sldMkLst>
          <pc:docMk/>
          <pc:sldMk cId="914579914" sldId="2147375249"/>
        </pc:sldMkLst>
      </pc:sldChg>
      <pc:sldChg chg="del">
        <pc:chgData name="Pirone, Chiara" userId="d9d5b965-323f-43ee-9ca8-6b95d06dc7f9" providerId="ADAL" clId="{EEA06CB2-82F2-4ED8-9229-4AD4686F732E}" dt="2022-05-13T08:02:01.920" v="475" actId="47"/>
        <pc:sldMkLst>
          <pc:docMk/>
          <pc:sldMk cId="339918246" sldId="2147375250"/>
        </pc:sldMkLst>
      </pc:sldChg>
      <pc:sldChg chg="addSp delSp modSp add del mod ord">
        <pc:chgData name="Pirone, Chiara" userId="d9d5b965-323f-43ee-9ca8-6b95d06dc7f9" providerId="ADAL" clId="{EEA06CB2-82F2-4ED8-9229-4AD4686F732E}" dt="2022-05-17T14:58:15.625" v="10881" actId="47"/>
        <pc:sldMkLst>
          <pc:docMk/>
          <pc:sldMk cId="2788396246" sldId="2147375735"/>
        </pc:sldMkLst>
        <pc:spChg chg="mod">
          <ac:chgData name="Pirone, Chiara" userId="d9d5b965-323f-43ee-9ca8-6b95d06dc7f9" providerId="ADAL" clId="{EEA06CB2-82F2-4ED8-9229-4AD4686F732E}" dt="2022-05-17T11:17:28.971" v="7763" actId="2711"/>
          <ac:spMkLst>
            <pc:docMk/>
            <pc:sldMk cId="2788396246" sldId="2147375735"/>
            <ac:spMk id="2" creationId="{00000000-0000-0000-0000-000000000000}"/>
          </ac:spMkLst>
        </pc:spChg>
        <pc:spChg chg="add del mod">
          <ac:chgData name="Pirone, Chiara" userId="d9d5b965-323f-43ee-9ca8-6b95d06dc7f9" providerId="ADAL" clId="{EEA06CB2-82F2-4ED8-9229-4AD4686F732E}" dt="2022-05-17T14:40:46.684" v="9871" actId="478"/>
          <ac:spMkLst>
            <pc:docMk/>
            <pc:sldMk cId="2788396246" sldId="2147375735"/>
            <ac:spMk id="7" creationId="{EE715245-2C87-420C-B724-DE655DBC5FC2}"/>
          </ac:spMkLst>
        </pc:spChg>
        <pc:spChg chg="mod topLvl">
          <ac:chgData name="Pirone, Chiara" userId="d9d5b965-323f-43ee-9ca8-6b95d06dc7f9" providerId="ADAL" clId="{EEA06CB2-82F2-4ED8-9229-4AD4686F732E}" dt="2022-05-17T11:21:00.523" v="7927" actId="164"/>
          <ac:spMkLst>
            <pc:docMk/>
            <pc:sldMk cId="2788396246" sldId="2147375735"/>
            <ac:spMk id="28" creationId="{603473CA-87CE-40AA-90E6-2067565616FA}"/>
          </ac:spMkLst>
        </pc:spChg>
        <pc:spChg chg="mod topLvl">
          <ac:chgData name="Pirone, Chiara" userId="d9d5b965-323f-43ee-9ca8-6b95d06dc7f9" providerId="ADAL" clId="{EEA06CB2-82F2-4ED8-9229-4AD4686F732E}" dt="2022-05-17T11:21:00.523" v="7927" actId="164"/>
          <ac:spMkLst>
            <pc:docMk/>
            <pc:sldMk cId="2788396246" sldId="2147375735"/>
            <ac:spMk id="29" creationId="{FE864DAA-54B3-43F4-B925-B1133F22C90B}"/>
          </ac:spMkLst>
        </pc:spChg>
        <pc:spChg chg="mod topLvl">
          <ac:chgData name="Pirone, Chiara" userId="d9d5b965-323f-43ee-9ca8-6b95d06dc7f9" providerId="ADAL" clId="{EEA06CB2-82F2-4ED8-9229-4AD4686F732E}" dt="2022-05-17T11:21:00.523" v="7927" actId="164"/>
          <ac:spMkLst>
            <pc:docMk/>
            <pc:sldMk cId="2788396246" sldId="2147375735"/>
            <ac:spMk id="34" creationId="{025DB72C-415D-4726-9480-C50C055EC99B}"/>
          </ac:spMkLst>
        </pc:spChg>
        <pc:spChg chg="mod topLvl">
          <ac:chgData name="Pirone, Chiara" userId="d9d5b965-323f-43ee-9ca8-6b95d06dc7f9" providerId="ADAL" clId="{EEA06CB2-82F2-4ED8-9229-4AD4686F732E}" dt="2022-05-17T11:21:00.523" v="7927" actId="164"/>
          <ac:spMkLst>
            <pc:docMk/>
            <pc:sldMk cId="2788396246" sldId="2147375735"/>
            <ac:spMk id="35" creationId="{D5786DCB-A804-439A-A22E-F4333D0763CA}"/>
          </ac:spMkLst>
        </pc:spChg>
        <pc:spChg chg="del mod topLvl">
          <ac:chgData name="Pirone, Chiara" userId="d9d5b965-323f-43ee-9ca8-6b95d06dc7f9" providerId="ADAL" clId="{EEA06CB2-82F2-4ED8-9229-4AD4686F732E}" dt="2022-05-17T11:19:57.509" v="7907" actId="478"/>
          <ac:spMkLst>
            <pc:docMk/>
            <pc:sldMk cId="2788396246" sldId="2147375735"/>
            <ac:spMk id="36" creationId="{A0657F3F-3FEB-48B6-BEF5-92895BEDBF6C}"/>
          </ac:spMkLst>
        </pc:spChg>
        <pc:spChg chg="mod topLvl">
          <ac:chgData name="Pirone, Chiara" userId="d9d5b965-323f-43ee-9ca8-6b95d06dc7f9" providerId="ADAL" clId="{EEA06CB2-82F2-4ED8-9229-4AD4686F732E}" dt="2022-05-17T11:21:00.523" v="7927" actId="164"/>
          <ac:spMkLst>
            <pc:docMk/>
            <pc:sldMk cId="2788396246" sldId="2147375735"/>
            <ac:spMk id="37" creationId="{7248A790-29D4-46AC-861C-1CF010A3E04F}"/>
          </ac:spMkLst>
        </pc:spChg>
        <pc:spChg chg="mod topLvl">
          <ac:chgData name="Pirone, Chiara" userId="d9d5b965-323f-43ee-9ca8-6b95d06dc7f9" providerId="ADAL" clId="{EEA06CB2-82F2-4ED8-9229-4AD4686F732E}" dt="2022-05-17T11:21:00.523" v="7927" actId="164"/>
          <ac:spMkLst>
            <pc:docMk/>
            <pc:sldMk cId="2788396246" sldId="2147375735"/>
            <ac:spMk id="38" creationId="{7A7A0532-6719-4217-B006-316047D80ED3}"/>
          </ac:spMkLst>
        </pc:spChg>
        <pc:spChg chg="add mod">
          <ac:chgData name="Pirone, Chiara" userId="d9d5b965-323f-43ee-9ca8-6b95d06dc7f9" providerId="ADAL" clId="{EEA06CB2-82F2-4ED8-9229-4AD4686F732E}" dt="2022-05-17T14:42:17.975" v="9935" actId="1035"/>
          <ac:spMkLst>
            <pc:docMk/>
            <pc:sldMk cId="2788396246" sldId="2147375735"/>
            <ac:spMk id="40" creationId="{D5D6014B-04B8-4C31-899A-15504DC6AC9B}"/>
          </ac:spMkLst>
        </pc:spChg>
        <pc:spChg chg="add mod">
          <ac:chgData name="Pirone, Chiara" userId="d9d5b965-323f-43ee-9ca8-6b95d06dc7f9" providerId="ADAL" clId="{EEA06CB2-82F2-4ED8-9229-4AD4686F732E}" dt="2022-05-17T14:55:28.076" v="10734" actId="404"/>
          <ac:spMkLst>
            <pc:docMk/>
            <pc:sldMk cId="2788396246" sldId="2147375735"/>
            <ac:spMk id="43" creationId="{0741A32F-DFB1-412C-AA34-6C248EE9B662}"/>
          </ac:spMkLst>
        </pc:spChg>
        <pc:spChg chg="add mod">
          <ac:chgData name="Pirone, Chiara" userId="d9d5b965-323f-43ee-9ca8-6b95d06dc7f9" providerId="ADAL" clId="{EEA06CB2-82F2-4ED8-9229-4AD4686F732E}" dt="2022-05-17T14:55:30.415" v="10735" actId="404"/>
          <ac:spMkLst>
            <pc:docMk/>
            <pc:sldMk cId="2788396246" sldId="2147375735"/>
            <ac:spMk id="44" creationId="{3BE5D3A5-4C26-4D30-8D9A-74C8C8288B31}"/>
          </ac:spMkLst>
        </pc:spChg>
        <pc:spChg chg="add mod">
          <ac:chgData name="Pirone, Chiara" userId="d9d5b965-323f-43ee-9ca8-6b95d06dc7f9" providerId="ADAL" clId="{EEA06CB2-82F2-4ED8-9229-4AD4686F732E}" dt="2022-05-17T14:55:32.803" v="10736" actId="404"/>
          <ac:spMkLst>
            <pc:docMk/>
            <pc:sldMk cId="2788396246" sldId="2147375735"/>
            <ac:spMk id="47" creationId="{437B0ACC-0229-47BA-A4D1-E1D6E9909922}"/>
          </ac:spMkLst>
        </pc:spChg>
        <pc:spChg chg="del mod">
          <ac:chgData name="Pirone, Chiara" userId="d9d5b965-323f-43ee-9ca8-6b95d06dc7f9" providerId="ADAL" clId="{EEA06CB2-82F2-4ED8-9229-4AD4686F732E}" dt="2022-05-17T11:18:25.172" v="7801" actId="478"/>
          <ac:spMkLst>
            <pc:docMk/>
            <pc:sldMk cId="2788396246" sldId="2147375735"/>
            <ac:spMk id="48" creationId="{8776D5D4-3E1E-4D50-9C54-1153999E0436}"/>
          </ac:spMkLst>
        </pc:spChg>
        <pc:spChg chg="del mod">
          <ac:chgData name="Pirone, Chiara" userId="d9d5b965-323f-43ee-9ca8-6b95d06dc7f9" providerId="ADAL" clId="{EEA06CB2-82F2-4ED8-9229-4AD4686F732E}" dt="2022-05-17T11:18:25.172" v="7801" actId="478"/>
          <ac:spMkLst>
            <pc:docMk/>
            <pc:sldMk cId="2788396246" sldId="2147375735"/>
            <ac:spMk id="49" creationId="{B273DBA6-46E1-4D87-9F6F-48F225E91475}"/>
          </ac:spMkLst>
        </pc:spChg>
        <pc:spChg chg="del mod">
          <ac:chgData name="Pirone, Chiara" userId="d9d5b965-323f-43ee-9ca8-6b95d06dc7f9" providerId="ADAL" clId="{EEA06CB2-82F2-4ED8-9229-4AD4686F732E}" dt="2022-05-17T11:18:25.172" v="7801" actId="478"/>
          <ac:spMkLst>
            <pc:docMk/>
            <pc:sldMk cId="2788396246" sldId="2147375735"/>
            <ac:spMk id="50" creationId="{1979AF55-788D-41D1-9FC0-723D0C95EA1F}"/>
          </ac:spMkLst>
        </pc:spChg>
        <pc:spChg chg="del mod">
          <ac:chgData name="Pirone, Chiara" userId="d9d5b965-323f-43ee-9ca8-6b95d06dc7f9" providerId="ADAL" clId="{EEA06CB2-82F2-4ED8-9229-4AD4686F732E}" dt="2022-05-17T11:18:27.085" v="7802" actId="478"/>
          <ac:spMkLst>
            <pc:docMk/>
            <pc:sldMk cId="2788396246" sldId="2147375735"/>
            <ac:spMk id="51" creationId="{C5817DDF-C1BC-422B-A066-978545E91955}"/>
          </ac:spMkLst>
        </pc:spChg>
        <pc:spChg chg="add mod">
          <ac:chgData name="Pirone, Chiara" userId="d9d5b965-323f-43ee-9ca8-6b95d06dc7f9" providerId="ADAL" clId="{EEA06CB2-82F2-4ED8-9229-4AD4686F732E}" dt="2022-05-17T14:55:35.375" v="10737" actId="404"/>
          <ac:spMkLst>
            <pc:docMk/>
            <pc:sldMk cId="2788396246" sldId="2147375735"/>
            <ac:spMk id="52" creationId="{D2F1671B-EB2A-4F3E-B40A-11FC2D077483}"/>
          </ac:spMkLst>
        </pc:spChg>
        <pc:spChg chg="del mod">
          <ac:chgData name="Pirone, Chiara" userId="d9d5b965-323f-43ee-9ca8-6b95d06dc7f9" providerId="ADAL" clId="{EEA06CB2-82F2-4ED8-9229-4AD4686F732E}" dt="2022-05-17T11:18:32.904" v="7805" actId="478"/>
          <ac:spMkLst>
            <pc:docMk/>
            <pc:sldMk cId="2788396246" sldId="2147375735"/>
            <ac:spMk id="57" creationId="{504C79B4-FB75-4B6C-A5C9-94799AD19EA1}"/>
          </ac:spMkLst>
        </pc:spChg>
        <pc:spChg chg="del mod">
          <ac:chgData name="Pirone, Chiara" userId="d9d5b965-323f-43ee-9ca8-6b95d06dc7f9" providerId="ADAL" clId="{EEA06CB2-82F2-4ED8-9229-4AD4686F732E}" dt="2022-05-17T11:18:34.510" v="7806" actId="478"/>
          <ac:spMkLst>
            <pc:docMk/>
            <pc:sldMk cId="2788396246" sldId="2147375735"/>
            <ac:spMk id="58" creationId="{EB9A5AFD-859E-429E-9FEA-310F81B9BFD0}"/>
          </ac:spMkLst>
        </pc:spChg>
        <pc:spChg chg="add del">
          <ac:chgData name="Pirone, Chiara" userId="d9d5b965-323f-43ee-9ca8-6b95d06dc7f9" providerId="ADAL" clId="{EEA06CB2-82F2-4ED8-9229-4AD4686F732E}" dt="2022-05-17T14:56:25.785" v="10785" actId="22"/>
          <ac:spMkLst>
            <pc:docMk/>
            <pc:sldMk cId="2788396246" sldId="2147375735"/>
            <ac:spMk id="62" creationId="{35BC329D-842C-4D3E-AC62-2B008CD2FCBC}"/>
          </ac:spMkLst>
        </pc:spChg>
        <pc:spChg chg="mod">
          <ac:chgData name="Pirone, Chiara" userId="d9d5b965-323f-43ee-9ca8-6b95d06dc7f9" providerId="ADAL" clId="{EEA06CB2-82F2-4ED8-9229-4AD4686F732E}" dt="2022-05-17T14:42:17.975" v="9935" actId="1035"/>
          <ac:spMkLst>
            <pc:docMk/>
            <pc:sldMk cId="2788396246" sldId="2147375735"/>
            <ac:spMk id="68" creationId="{AAFCE447-AC7E-4C7B-948E-325CA7DBC734}"/>
          </ac:spMkLst>
        </pc:spChg>
        <pc:spChg chg="mod">
          <ac:chgData name="Pirone, Chiara" userId="d9d5b965-323f-43ee-9ca8-6b95d06dc7f9" providerId="ADAL" clId="{EEA06CB2-82F2-4ED8-9229-4AD4686F732E}" dt="2022-05-17T11:18:12.509" v="7799" actId="20577"/>
          <ac:spMkLst>
            <pc:docMk/>
            <pc:sldMk cId="2788396246" sldId="2147375735"/>
            <ac:spMk id="71" creationId="{21050DFB-DA40-4AA7-A2B9-20C49BD58984}"/>
          </ac:spMkLst>
        </pc:spChg>
        <pc:grpChg chg="del mod">
          <ac:chgData name="Pirone, Chiara" userId="d9d5b965-323f-43ee-9ca8-6b95d06dc7f9" providerId="ADAL" clId="{EEA06CB2-82F2-4ED8-9229-4AD4686F732E}" dt="2022-05-17T11:18:32.904" v="7805" actId="478"/>
          <ac:grpSpMkLst>
            <pc:docMk/>
            <pc:sldMk cId="2788396246" sldId="2147375735"/>
            <ac:grpSpMk id="3" creationId="{1A49E13E-206D-4CA2-9095-BB555658C1BC}"/>
          </ac:grpSpMkLst>
        </pc:grpChg>
        <pc:grpChg chg="del mod">
          <ac:chgData name="Pirone, Chiara" userId="d9d5b965-323f-43ee-9ca8-6b95d06dc7f9" providerId="ADAL" clId="{EEA06CB2-82F2-4ED8-9229-4AD4686F732E}" dt="2022-05-17T11:18:32.904" v="7805" actId="478"/>
          <ac:grpSpMkLst>
            <pc:docMk/>
            <pc:sldMk cId="2788396246" sldId="2147375735"/>
            <ac:grpSpMk id="4" creationId="{27AA7F09-B573-4EB9-8098-86C5F1F012C2}"/>
          </ac:grpSpMkLst>
        </pc:grpChg>
        <pc:grpChg chg="add del mod">
          <ac:chgData name="Pirone, Chiara" userId="d9d5b965-323f-43ee-9ca8-6b95d06dc7f9" providerId="ADAL" clId="{EEA06CB2-82F2-4ED8-9229-4AD4686F732E}" dt="2022-05-17T11:19:55.943" v="7906" actId="165"/>
          <ac:grpSpMkLst>
            <pc:docMk/>
            <pc:sldMk cId="2788396246" sldId="2147375735"/>
            <ac:grpSpMk id="5" creationId="{E952174E-C49D-4C90-8FE3-B80F1C9496F8}"/>
          </ac:grpSpMkLst>
        </pc:grpChg>
        <pc:grpChg chg="add mod">
          <ac:chgData name="Pirone, Chiara" userId="d9d5b965-323f-43ee-9ca8-6b95d06dc7f9" providerId="ADAL" clId="{EEA06CB2-82F2-4ED8-9229-4AD4686F732E}" dt="2022-05-17T11:21:00.523" v="7927" actId="164"/>
          <ac:grpSpMkLst>
            <pc:docMk/>
            <pc:sldMk cId="2788396246" sldId="2147375735"/>
            <ac:grpSpMk id="6" creationId="{7680D956-E73D-4ACE-9576-BF9E1A0D4BB9}"/>
          </ac:grpSpMkLst>
        </pc:grpChg>
        <pc:grpChg chg="add del mod">
          <ac:chgData name="Pirone, Chiara" userId="d9d5b965-323f-43ee-9ca8-6b95d06dc7f9" providerId="ADAL" clId="{EEA06CB2-82F2-4ED8-9229-4AD4686F732E}" dt="2022-05-17T11:20:48.513" v="7922" actId="165"/>
          <ac:grpSpMkLst>
            <pc:docMk/>
            <pc:sldMk cId="2788396246" sldId="2147375735"/>
            <ac:grpSpMk id="33" creationId="{E8451D2D-51AE-4E5A-A6E1-1DDCF55B7787}"/>
          </ac:grpSpMkLst>
        </pc:grpChg>
        <pc:grpChg chg="del mod">
          <ac:chgData name="Pirone, Chiara" userId="d9d5b965-323f-43ee-9ca8-6b95d06dc7f9" providerId="ADAL" clId="{EEA06CB2-82F2-4ED8-9229-4AD4686F732E}" dt="2022-05-17T11:18:32.904" v="7805" actId="478"/>
          <ac:grpSpMkLst>
            <pc:docMk/>
            <pc:sldMk cId="2788396246" sldId="2147375735"/>
            <ac:grpSpMk id="59" creationId="{AC901BE6-58F5-4C6E-A123-F9628F07A503}"/>
          </ac:grpSpMkLst>
        </pc:grpChg>
        <pc:grpChg chg="del mod">
          <ac:chgData name="Pirone, Chiara" userId="d9d5b965-323f-43ee-9ca8-6b95d06dc7f9" providerId="ADAL" clId="{EEA06CB2-82F2-4ED8-9229-4AD4686F732E}" dt="2022-05-17T11:18:32.904" v="7805" actId="478"/>
          <ac:grpSpMkLst>
            <pc:docMk/>
            <pc:sldMk cId="2788396246" sldId="2147375735"/>
            <ac:grpSpMk id="60" creationId="{ACDE2556-DB52-40F0-B9BD-77969612C7F9}"/>
          </ac:grpSpMkLst>
        </pc:grpChg>
        <pc:graphicFrameChg chg="del mod">
          <ac:chgData name="Pirone, Chiara" userId="d9d5b965-323f-43ee-9ca8-6b95d06dc7f9" providerId="ADAL" clId="{EEA06CB2-82F2-4ED8-9229-4AD4686F732E}" dt="2022-05-17T11:18:22.326" v="7800" actId="478"/>
          <ac:graphicFrameMkLst>
            <pc:docMk/>
            <pc:sldMk cId="2788396246" sldId="2147375735"/>
            <ac:graphicFrameMk id="42" creationId="{7A10976D-E22A-4775-BDD2-F62ED3BFE194}"/>
          </ac:graphicFrameMkLst>
        </pc:graphicFrameChg>
        <pc:picChg chg="add mod">
          <ac:chgData name="Pirone, Chiara" userId="d9d5b965-323f-43ee-9ca8-6b95d06dc7f9" providerId="ADAL" clId="{EEA06CB2-82F2-4ED8-9229-4AD4686F732E}" dt="2022-05-17T14:42:54.698" v="9980" actId="1035"/>
          <ac:picMkLst>
            <pc:docMk/>
            <pc:sldMk cId="2788396246" sldId="2147375735"/>
            <ac:picMk id="9" creationId="{D166A128-F670-49C9-833C-CB1B259DEFA1}"/>
          </ac:picMkLst>
        </pc:picChg>
        <pc:picChg chg="add mod">
          <ac:chgData name="Pirone, Chiara" userId="d9d5b965-323f-43ee-9ca8-6b95d06dc7f9" providerId="ADAL" clId="{EEA06CB2-82F2-4ED8-9229-4AD4686F732E}" dt="2022-05-17T14:42:54.698" v="9980" actId="1035"/>
          <ac:picMkLst>
            <pc:docMk/>
            <pc:sldMk cId="2788396246" sldId="2147375735"/>
            <ac:picMk id="11" creationId="{7C2D40AB-FD37-4065-B7F3-C7AEDD28BE60}"/>
          </ac:picMkLst>
        </pc:picChg>
        <pc:picChg chg="add mod">
          <ac:chgData name="Pirone, Chiara" userId="d9d5b965-323f-43ee-9ca8-6b95d06dc7f9" providerId="ADAL" clId="{EEA06CB2-82F2-4ED8-9229-4AD4686F732E}" dt="2022-05-17T14:42:54.698" v="9980" actId="1035"/>
          <ac:picMkLst>
            <pc:docMk/>
            <pc:sldMk cId="2788396246" sldId="2147375735"/>
            <ac:picMk id="13" creationId="{E21805CB-0DB2-497E-BF06-484A09D068CB}"/>
          </ac:picMkLst>
        </pc:picChg>
        <pc:picChg chg="add mod">
          <ac:chgData name="Pirone, Chiara" userId="d9d5b965-323f-43ee-9ca8-6b95d06dc7f9" providerId="ADAL" clId="{EEA06CB2-82F2-4ED8-9229-4AD4686F732E}" dt="2022-05-17T14:42:54.698" v="9980" actId="1035"/>
          <ac:picMkLst>
            <pc:docMk/>
            <pc:sldMk cId="2788396246" sldId="2147375735"/>
            <ac:picMk id="15" creationId="{59601D40-B13C-4B77-9E8D-53F6E3B0E6BC}"/>
          </ac:picMkLst>
        </pc:picChg>
        <pc:picChg chg="mod topLvl">
          <ac:chgData name="Pirone, Chiara" userId="d9d5b965-323f-43ee-9ca8-6b95d06dc7f9" providerId="ADAL" clId="{EEA06CB2-82F2-4ED8-9229-4AD4686F732E}" dt="2022-05-17T11:21:14.189" v="7928" actId="1076"/>
          <ac:picMkLst>
            <pc:docMk/>
            <pc:sldMk cId="2788396246" sldId="2147375735"/>
            <ac:picMk id="31" creationId="{BC487ED4-B4AD-47CF-BDBE-7DE39F8C5929}"/>
          </ac:picMkLst>
        </pc:picChg>
        <pc:picChg chg="add mod">
          <ac:chgData name="Pirone, Chiara" userId="d9d5b965-323f-43ee-9ca8-6b95d06dc7f9" providerId="ADAL" clId="{EEA06CB2-82F2-4ED8-9229-4AD4686F732E}" dt="2022-05-17T14:39:01.291" v="9763"/>
          <ac:picMkLst>
            <pc:docMk/>
            <pc:sldMk cId="2788396246" sldId="2147375735"/>
            <ac:picMk id="61" creationId="{84F1D73C-ABEA-4A77-80CA-33DA25C06D25}"/>
          </ac:picMkLst>
        </pc:picChg>
        <pc:picChg chg="mod">
          <ac:chgData name="Pirone, Chiara" userId="d9d5b965-323f-43ee-9ca8-6b95d06dc7f9" providerId="ADAL" clId="{EEA06CB2-82F2-4ED8-9229-4AD4686F732E}" dt="2022-05-17T11:18:29.674" v="7804" actId="1076"/>
          <ac:picMkLst>
            <pc:docMk/>
            <pc:sldMk cId="2788396246" sldId="2147375735"/>
            <ac:picMk id="70" creationId="{3A16597E-2EEA-4308-9122-A1442C38030D}"/>
          </ac:picMkLst>
        </pc:picChg>
      </pc:sldChg>
      <pc:sldChg chg="addSp delSp modSp add del mod ord">
        <pc:chgData name="Pirone, Chiara" userId="d9d5b965-323f-43ee-9ca8-6b95d06dc7f9" providerId="ADAL" clId="{EEA06CB2-82F2-4ED8-9229-4AD4686F732E}" dt="2022-05-17T13:51:52.380" v="8430"/>
        <pc:sldMkLst>
          <pc:docMk/>
          <pc:sldMk cId="2721413444" sldId="2147375736"/>
        </pc:sldMkLst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5" creationId="{00000000-0000-0000-0000-000000000000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6" creationId="{00000000-0000-0000-0000-000000000000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7" creationId="{00000000-0000-0000-0000-000000000000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8" creationId="{00000000-0000-0000-0000-000000000000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9" creationId="{00000000-0000-0000-0000-000000000000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14" creationId="{00000000-0000-0000-0000-000000000000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18" creationId="{00000000-0000-0000-0000-000000000000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22" creationId="{00000000-0000-0000-0000-000000000000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26" creationId="{00000000-0000-0000-0000-000000000000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32" creationId="{C5890AA2-9FA3-403A-9FE3-C296A2B9A301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35" creationId="{DF90CB3D-CFB3-420F-979A-48BF3BBE5FD1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45" creationId="{5D8886B7-A35D-4BD5-94AD-1403CA8C713E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46" creationId="{F1C1EE61-A7EC-47C4-8BA6-1D4671907B84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47" creationId="{51224818-813B-4F52-88C8-E056F184D33D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48" creationId="{04F70FFF-498C-4C7F-A7E5-2F1C2542337B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49" creationId="{9DD1EE7A-B8CF-4ADD-A377-FC4C6F31F0C4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50" creationId="{FF309D65-B3FA-4331-93A2-0365393D347B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51" creationId="{EB2304F5-E8D8-4C1C-B783-AA2BAD497737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52" creationId="{BB9CFCE0-0540-4E81-9541-86C44B6E537F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53" creationId="{4B3BE96F-BFBD-4EFF-9E4B-F25BAC211E17}"/>
          </ac:spMkLst>
        </pc:spChg>
        <pc:spChg chg="add mod">
          <ac:chgData name="Pirone, Chiara" userId="d9d5b965-323f-43ee-9ca8-6b95d06dc7f9" providerId="ADAL" clId="{EEA06CB2-82F2-4ED8-9229-4AD4686F732E}" dt="2022-05-17T10:47:15.680" v="6975" actId="14100"/>
          <ac:spMkLst>
            <pc:docMk/>
            <pc:sldMk cId="2721413444" sldId="2147375736"/>
            <ac:spMk id="54" creationId="{3324D2E8-CEAC-46B9-87D7-7C40134F8223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61" creationId="{00B76E7D-B537-47D7-8C71-916B4D2AA196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62" creationId="{50EF9FFD-15CE-4DE1-8467-B6B6EA171271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63" creationId="{E4331EE9-CEA8-4B73-B172-DB9B6E3AAA7F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64" creationId="{A701CC34-061B-46FB-8D39-4E361A92C2B1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65" creationId="{F8B2754B-2475-4080-AB59-9AE043E70765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66" creationId="{D182B812-58D3-4746-9BD4-0140879A501D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67" creationId="{6BC06CE0-B849-4DF5-B2A4-0EDD79109419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68" creationId="{F0367B36-0030-4F3D-9C60-EAE1454A9E78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69" creationId="{AD6F3D23-135E-41A6-9F53-CAFDB4C321CB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70" creationId="{A9FD2C63-9B70-4FA8-9EB5-D9D0120DEB9A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71" creationId="{E3BDCEA8-25E9-450A-8B66-AA2BE096D18D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73" creationId="{6F6676A4-6303-498A-BF65-1CEB6CDC6201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74" creationId="{99292E97-AB47-4A1A-86D3-BD421500AF2D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75" creationId="{B519D048-B943-4D7B-AF88-0B032FB64F1C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76" creationId="{5A9C2449-25B6-4F84-953D-395169AE77A6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77" creationId="{05C421C7-187C-435C-9906-EBB5A80C21B6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78" creationId="{0507EC9D-ABC1-422E-8F4A-5B816CE6830E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79" creationId="{BBFC7AFD-D183-454F-90FC-168C848E4C77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80" creationId="{41854474-4AE0-4A39-9338-7DEDE0FC9C82}"/>
          </ac:spMkLst>
        </pc:spChg>
        <pc:spChg chg="mod">
          <ac:chgData name="Pirone, Chiara" userId="d9d5b965-323f-43ee-9ca8-6b95d06dc7f9" providerId="ADAL" clId="{EEA06CB2-82F2-4ED8-9229-4AD4686F732E}" dt="2022-05-13T07:55:10.926" v="16" actId="1036"/>
          <ac:spMkLst>
            <pc:docMk/>
            <pc:sldMk cId="2721413444" sldId="2147375736"/>
            <ac:spMk id="82" creationId="{ED21DADC-687B-4F42-9164-CC9DBA76150C}"/>
          </ac:spMkLst>
        </pc:spChg>
        <pc:spChg chg="mod">
          <ac:chgData name="Pirone, Chiara" userId="d9d5b965-323f-43ee-9ca8-6b95d06dc7f9" providerId="ADAL" clId="{EEA06CB2-82F2-4ED8-9229-4AD4686F732E}" dt="2022-05-13T07:55:10.926" v="16" actId="1036"/>
          <ac:spMkLst>
            <pc:docMk/>
            <pc:sldMk cId="2721413444" sldId="2147375736"/>
            <ac:spMk id="83" creationId="{9B2E1CDE-0CDD-4BA0-88A7-B07216404D58}"/>
          </ac:spMkLst>
        </pc:spChg>
        <pc:spChg chg="mod">
          <ac:chgData name="Pirone, Chiara" userId="d9d5b965-323f-43ee-9ca8-6b95d06dc7f9" providerId="ADAL" clId="{EEA06CB2-82F2-4ED8-9229-4AD4686F732E}" dt="2022-05-13T07:55:10.926" v="16" actId="1036"/>
          <ac:spMkLst>
            <pc:docMk/>
            <pc:sldMk cId="2721413444" sldId="2147375736"/>
            <ac:spMk id="85" creationId="{D6498AA0-B102-4537-B516-41DF8FD82955}"/>
          </ac:spMkLst>
        </pc:spChg>
        <pc:spChg chg="mod">
          <ac:chgData name="Pirone, Chiara" userId="d9d5b965-323f-43ee-9ca8-6b95d06dc7f9" providerId="ADAL" clId="{EEA06CB2-82F2-4ED8-9229-4AD4686F732E}" dt="2022-05-13T07:55:10.926" v="16" actId="1036"/>
          <ac:spMkLst>
            <pc:docMk/>
            <pc:sldMk cId="2721413444" sldId="2147375736"/>
            <ac:spMk id="86" creationId="{7D5A6059-0D33-49EE-BF92-09EC2338379A}"/>
          </ac:spMkLst>
        </pc:spChg>
        <pc:spChg chg="mod">
          <ac:chgData name="Pirone, Chiara" userId="d9d5b965-323f-43ee-9ca8-6b95d06dc7f9" providerId="ADAL" clId="{EEA06CB2-82F2-4ED8-9229-4AD4686F732E}" dt="2022-05-13T07:55:10.926" v="16" actId="1036"/>
          <ac:spMkLst>
            <pc:docMk/>
            <pc:sldMk cId="2721413444" sldId="2147375736"/>
            <ac:spMk id="87" creationId="{E9D80623-B54F-408E-B724-90D3239EB5B0}"/>
          </ac:spMkLst>
        </pc:spChg>
        <pc:spChg chg="mod">
          <ac:chgData name="Pirone, Chiara" userId="d9d5b965-323f-43ee-9ca8-6b95d06dc7f9" providerId="ADAL" clId="{EEA06CB2-82F2-4ED8-9229-4AD4686F732E}" dt="2022-05-13T07:55:10.926" v="16" actId="1036"/>
          <ac:spMkLst>
            <pc:docMk/>
            <pc:sldMk cId="2721413444" sldId="2147375736"/>
            <ac:spMk id="88" creationId="{4723CA5E-D139-4FE6-80B4-52920DA3A8C1}"/>
          </ac:spMkLst>
        </pc:spChg>
        <pc:spChg chg="add mod">
          <ac:chgData name="Pirone, Chiara" userId="d9d5b965-323f-43ee-9ca8-6b95d06dc7f9" providerId="ADAL" clId="{EEA06CB2-82F2-4ED8-9229-4AD4686F732E}" dt="2022-05-17T08:33:58.619" v="5446" actId="404"/>
          <ac:spMkLst>
            <pc:docMk/>
            <pc:sldMk cId="2721413444" sldId="2147375736"/>
            <ac:spMk id="89" creationId="{0EDDC655-AF8A-4B01-9199-C93D897F3A4A}"/>
          </ac:spMkLst>
        </pc:spChg>
        <pc:spChg chg="add mod">
          <ac:chgData name="Pirone, Chiara" userId="d9d5b965-323f-43ee-9ca8-6b95d06dc7f9" providerId="ADAL" clId="{EEA06CB2-82F2-4ED8-9229-4AD4686F732E}" dt="2022-05-17T10:47:12.236" v="6974" actId="404"/>
          <ac:spMkLst>
            <pc:docMk/>
            <pc:sldMk cId="2721413444" sldId="2147375736"/>
            <ac:spMk id="91" creationId="{6839D630-33D8-4E5D-A5D4-3C12DAEC7D0F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120" creationId="{ECC5AF77-B51D-48D4-94F5-3825326DA390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121" creationId="{56EDEAA1-AB06-47CA-B5EB-3D5104E5C6A9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122" creationId="{5FAF021D-D231-47A4-AC07-AA97135676D8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123" creationId="{29908ABE-C12C-4B2C-84E6-2FBDFABDB8B4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125" creationId="{29F504FC-AC41-4E32-8348-48578FC3B5AF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126" creationId="{1264EF1E-86B9-4A60-BF97-3E3FFBB07E5C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127" creationId="{7BB7D7BB-ACF9-418C-96C5-D5F720AE00FC}"/>
          </ac:spMkLst>
        </pc:spChg>
        <pc:spChg chg="del">
          <ac:chgData name="Pirone, Chiara" userId="d9d5b965-323f-43ee-9ca8-6b95d06dc7f9" providerId="ADAL" clId="{EEA06CB2-82F2-4ED8-9229-4AD4686F732E}" dt="2022-05-13T07:55:01.032" v="3" actId="478"/>
          <ac:spMkLst>
            <pc:docMk/>
            <pc:sldMk cId="2721413444" sldId="2147375736"/>
            <ac:spMk id="128" creationId="{CBC0FB62-6383-4A1C-B117-7C6E5733CDA3}"/>
          </ac:spMkLst>
        </pc:spChg>
        <pc:spChg chg="mod">
          <ac:chgData name="Pirone, Chiara" userId="d9d5b965-323f-43ee-9ca8-6b95d06dc7f9" providerId="ADAL" clId="{EEA06CB2-82F2-4ED8-9229-4AD4686F732E}" dt="2022-05-17T10:43:46.695" v="6858" actId="20577"/>
          <ac:spMkLst>
            <pc:docMk/>
            <pc:sldMk cId="2721413444" sldId="2147375736"/>
            <ac:spMk id="129" creationId="{6E8FEBB2-401C-47BF-B073-3BF8DB0625C4}"/>
          </ac:spMkLst>
        </pc:spChg>
        <pc:grpChg chg="add mod">
          <ac:chgData name="Pirone, Chiara" userId="d9d5b965-323f-43ee-9ca8-6b95d06dc7f9" providerId="ADAL" clId="{EEA06CB2-82F2-4ED8-9229-4AD4686F732E}" dt="2022-05-17T10:47:12.236" v="6974" actId="404"/>
          <ac:grpSpMkLst>
            <pc:docMk/>
            <pc:sldMk cId="2721413444" sldId="2147375736"/>
            <ac:grpSpMk id="81" creationId="{F610CE69-7DE2-4DAA-934F-2C1C9520667A}"/>
          </ac:grpSpMkLst>
        </pc:grpChg>
        <pc:grpChg chg="add mod">
          <ac:chgData name="Pirone, Chiara" userId="d9d5b965-323f-43ee-9ca8-6b95d06dc7f9" providerId="ADAL" clId="{EEA06CB2-82F2-4ED8-9229-4AD4686F732E}" dt="2022-05-17T10:47:12.236" v="6974" actId="404"/>
          <ac:grpSpMkLst>
            <pc:docMk/>
            <pc:sldMk cId="2721413444" sldId="2147375736"/>
            <ac:grpSpMk id="84" creationId="{F39173A6-E8C2-48C9-B963-DB7FB38D5038}"/>
          </ac:grpSpMkLst>
        </pc:grpChg>
        <pc:grpChg chg="del">
          <ac:chgData name="Pirone, Chiara" userId="d9d5b965-323f-43ee-9ca8-6b95d06dc7f9" providerId="ADAL" clId="{EEA06CB2-82F2-4ED8-9229-4AD4686F732E}" dt="2022-05-13T07:55:01.032" v="3" actId="478"/>
          <ac:grpSpMkLst>
            <pc:docMk/>
            <pc:sldMk cId="2721413444" sldId="2147375736"/>
            <ac:grpSpMk id="111" creationId="{1408E3FA-E4E5-4505-907B-2D3201478B3F}"/>
          </ac:grpSpMkLst>
        </pc:grpChg>
        <pc:picChg chg="mod">
          <ac:chgData name="Pirone, Chiara" userId="d9d5b965-323f-43ee-9ca8-6b95d06dc7f9" providerId="ADAL" clId="{EEA06CB2-82F2-4ED8-9229-4AD4686F732E}" dt="2022-05-17T10:45:26.239" v="6897" actId="14100"/>
          <ac:picMkLst>
            <pc:docMk/>
            <pc:sldMk cId="2721413444" sldId="2147375736"/>
            <ac:picMk id="4" creationId="{AE270AA2-79AA-4912-B51E-51179F7A2AE5}"/>
          </ac:picMkLst>
        </pc:picChg>
        <pc:picChg chg="add mod">
          <ac:chgData name="Pirone, Chiara" userId="d9d5b965-323f-43ee-9ca8-6b95d06dc7f9" providerId="ADAL" clId="{EEA06CB2-82F2-4ED8-9229-4AD4686F732E}" dt="2022-05-17T10:55:46.722" v="7239" actId="1036"/>
          <ac:picMkLst>
            <pc:docMk/>
            <pc:sldMk cId="2721413444" sldId="2147375736"/>
            <ac:picMk id="37" creationId="{B5CC6296-622F-4B80-A8CD-3086CC11EF12}"/>
          </ac:picMkLst>
        </pc:picChg>
        <pc:picChg chg="del">
          <ac:chgData name="Pirone, Chiara" userId="d9d5b965-323f-43ee-9ca8-6b95d06dc7f9" providerId="ADAL" clId="{EEA06CB2-82F2-4ED8-9229-4AD4686F732E}" dt="2022-05-13T07:55:01.032" v="3" actId="478"/>
          <ac:picMkLst>
            <pc:docMk/>
            <pc:sldMk cId="2721413444" sldId="2147375736"/>
            <ac:picMk id="55" creationId="{9E2A46AB-D5FC-445A-8592-3F5338791C88}"/>
          </ac:picMkLst>
        </pc:picChg>
        <pc:picChg chg="del">
          <ac:chgData name="Pirone, Chiara" userId="d9d5b965-323f-43ee-9ca8-6b95d06dc7f9" providerId="ADAL" clId="{EEA06CB2-82F2-4ED8-9229-4AD4686F732E}" dt="2022-05-13T07:55:01.032" v="3" actId="478"/>
          <ac:picMkLst>
            <pc:docMk/>
            <pc:sldMk cId="2721413444" sldId="2147375736"/>
            <ac:picMk id="56" creationId="{344B42B2-FB07-4A6E-818F-18736BA1D2C3}"/>
          </ac:picMkLst>
        </pc:picChg>
        <pc:picChg chg="del">
          <ac:chgData name="Pirone, Chiara" userId="d9d5b965-323f-43ee-9ca8-6b95d06dc7f9" providerId="ADAL" clId="{EEA06CB2-82F2-4ED8-9229-4AD4686F732E}" dt="2022-05-13T07:55:01.032" v="3" actId="478"/>
          <ac:picMkLst>
            <pc:docMk/>
            <pc:sldMk cId="2721413444" sldId="2147375736"/>
            <ac:picMk id="57" creationId="{37AE1B0E-265A-48E9-972B-5BFB4DF0A966}"/>
          </ac:picMkLst>
        </pc:picChg>
        <pc:picChg chg="del">
          <ac:chgData name="Pirone, Chiara" userId="d9d5b965-323f-43ee-9ca8-6b95d06dc7f9" providerId="ADAL" clId="{EEA06CB2-82F2-4ED8-9229-4AD4686F732E}" dt="2022-05-13T07:55:01.032" v="3" actId="478"/>
          <ac:picMkLst>
            <pc:docMk/>
            <pc:sldMk cId="2721413444" sldId="2147375736"/>
            <ac:picMk id="58" creationId="{F723ED65-CA35-4213-A6F3-FD3D2BB6A9E9}"/>
          </ac:picMkLst>
        </pc:picChg>
        <pc:picChg chg="del">
          <ac:chgData name="Pirone, Chiara" userId="d9d5b965-323f-43ee-9ca8-6b95d06dc7f9" providerId="ADAL" clId="{EEA06CB2-82F2-4ED8-9229-4AD4686F732E}" dt="2022-05-13T07:55:01.032" v="3" actId="478"/>
          <ac:picMkLst>
            <pc:docMk/>
            <pc:sldMk cId="2721413444" sldId="2147375736"/>
            <ac:picMk id="59" creationId="{1F74F82D-88DA-4B8E-948E-5B50AA76B0D9}"/>
          </ac:picMkLst>
        </pc:picChg>
        <pc:picChg chg="del">
          <ac:chgData name="Pirone, Chiara" userId="d9d5b965-323f-43ee-9ca8-6b95d06dc7f9" providerId="ADAL" clId="{EEA06CB2-82F2-4ED8-9229-4AD4686F732E}" dt="2022-05-13T07:55:01.032" v="3" actId="478"/>
          <ac:picMkLst>
            <pc:docMk/>
            <pc:sldMk cId="2721413444" sldId="2147375736"/>
            <ac:picMk id="60" creationId="{02067C2C-7477-4F45-99BF-31A8A65A5C72}"/>
          </ac:picMkLst>
        </pc:picChg>
        <pc:picChg chg="add mod">
          <ac:chgData name="Pirone, Chiara" userId="d9d5b965-323f-43ee-9ca8-6b95d06dc7f9" providerId="ADAL" clId="{EEA06CB2-82F2-4ED8-9229-4AD4686F732E}" dt="2022-05-17T10:47:12.236" v="6974" actId="404"/>
          <ac:picMkLst>
            <pc:docMk/>
            <pc:sldMk cId="2721413444" sldId="2147375736"/>
            <ac:picMk id="72" creationId="{8513EE3A-C906-41B4-802C-7FADFD8532A2}"/>
          </ac:picMkLst>
        </pc:picChg>
        <pc:picChg chg="add del mod">
          <ac:chgData name="Pirone, Chiara" userId="d9d5b965-323f-43ee-9ca8-6b95d06dc7f9" providerId="ADAL" clId="{EEA06CB2-82F2-4ED8-9229-4AD4686F732E}" dt="2022-05-13T09:24:01.797" v="1336" actId="478"/>
          <ac:picMkLst>
            <pc:docMk/>
            <pc:sldMk cId="2721413444" sldId="2147375736"/>
            <ac:picMk id="90" creationId="{7D199002-9592-40C6-B36B-0FCB17E1AE3E}"/>
          </ac:picMkLst>
        </pc:picChg>
        <pc:picChg chg="add del mod">
          <ac:chgData name="Pirone, Chiara" userId="d9d5b965-323f-43ee-9ca8-6b95d06dc7f9" providerId="ADAL" clId="{EEA06CB2-82F2-4ED8-9229-4AD4686F732E}" dt="2022-05-17T10:55:43.766" v="7233" actId="478"/>
          <ac:picMkLst>
            <pc:docMk/>
            <pc:sldMk cId="2721413444" sldId="2147375736"/>
            <ac:picMk id="92" creationId="{4E52FA48-FA1E-4522-8585-2CFC87B03FB3}"/>
          </ac:picMkLst>
        </pc:picChg>
        <pc:picChg chg="del">
          <ac:chgData name="Pirone, Chiara" userId="d9d5b965-323f-43ee-9ca8-6b95d06dc7f9" providerId="ADAL" clId="{EEA06CB2-82F2-4ED8-9229-4AD4686F732E}" dt="2022-05-13T07:55:01.032" v="3" actId="478"/>
          <ac:picMkLst>
            <pc:docMk/>
            <pc:sldMk cId="2721413444" sldId="2147375736"/>
            <ac:picMk id="124" creationId="{EB092266-89A3-41B9-A29C-17E1D4E1BD1F}"/>
          </ac:picMkLst>
        </pc:picChg>
      </pc:sldChg>
      <pc:sldChg chg="addSp modSp add del mod">
        <pc:chgData name="Pirone, Chiara" userId="d9d5b965-323f-43ee-9ca8-6b95d06dc7f9" providerId="ADAL" clId="{EEA06CB2-82F2-4ED8-9229-4AD4686F732E}" dt="2022-05-17T14:39:17.181" v="9771"/>
        <pc:sldMkLst>
          <pc:docMk/>
          <pc:sldMk cId="2196639760" sldId="2147375749"/>
        </pc:sldMkLst>
        <pc:spChg chg="mod">
          <ac:chgData name="Pirone, Chiara" userId="d9d5b965-323f-43ee-9ca8-6b95d06dc7f9" providerId="ADAL" clId="{EEA06CB2-82F2-4ED8-9229-4AD4686F732E}" dt="2022-05-17T11:25:02.344" v="8035" actId="2711"/>
          <ac:spMkLst>
            <pc:docMk/>
            <pc:sldMk cId="2196639760" sldId="2147375749"/>
            <ac:spMk id="16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1:25:02.344" v="8035" actId="2711"/>
          <ac:spMkLst>
            <pc:docMk/>
            <pc:sldMk cId="2196639760" sldId="2147375749"/>
            <ac:spMk id="50" creationId="{A0DC6B6E-1765-4D38-B657-B5AC15D5D956}"/>
          </ac:spMkLst>
        </pc:spChg>
        <pc:spChg chg="mod">
          <ac:chgData name="Pirone, Chiara" userId="d9d5b965-323f-43ee-9ca8-6b95d06dc7f9" providerId="ADAL" clId="{EEA06CB2-82F2-4ED8-9229-4AD4686F732E}" dt="2022-05-17T11:25:08.271" v="8038" actId="14100"/>
          <ac:spMkLst>
            <pc:docMk/>
            <pc:sldMk cId="2196639760" sldId="2147375749"/>
            <ac:spMk id="53" creationId="{147386B5-240D-4B85-B063-435CDCE61604}"/>
          </ac:spMkLst>
        </pc:spChg>
        <pc:picChg chg="add mod">
          <ac:chgData name="Pirone, Chiara" userId="d9d5b965-323f-43ee-9ca8-6b95d06dc7f9" providerId="ADAL" clId="{EEA06CB2-82F2-4ED8-9229-4AD4686F732E}" dt="2022-05-17T14:39:17.181" v="9771"/>
          <ac:picMkLst>
            <pc:docMk/>
            <pc:sldMk cId="2196639760" sldId="2147375749"/>
            <ac:picMk id="15" creationId="{FE175D93-CC95-486A-A2B2-CA8064FC4A15}"/>
          </ac:picMkLst>
        </pc:picChg>
      </pc:sldChg>
      <pc:sldChg chg="addSp delSp modSp add del mod ord">
        <pc:chgData name="Pirone, Chiara" userId="d9d5b965-323f-43ee-9ca8-6b95d06dc7f9" providerId="ADAL" clId="{EEA06CB2-82F2-4ED8-9229-4AD4686F732E}" dt="2022-05-17T14:38:59.360" v="9762"/>
        <pc:sldMkLst>
          <pc:docMk/>
          <pc:sldMk cId="3363024152" sldId="2147375862"/>
        </pc:sldMkLst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2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14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18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22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26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35" creationId="{DF90CB3D-CFB3-420F-979A-48BF3BBE5FD1}"/>
          </ac:spMkLst>
        </pc:spChg>
        <pc:spChg chg="del mod">
          <ac:chgData name="Pirone, Chiara" userId="d9d5b965-323f-43ee-9ca8-6b95d06dc7f9" providerId="ADAL" clId="{EEA06CB2-82F2-4ED8-9229-4AD4686F732E}" dt="2022-05-17T11:21:34.053" v="7931" actId="478"/>
          <ac:spMkLst>
            <pc:docMk/>
            <pc:sldMk cId="3363024152" sldId="2147375862"/>
            <ac:spMk id="45" creationId="{5D8886B7-A35D-4BD5-94AD-1403CA8C713E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47" creationId="{51224818-813B-4F52-88C8-E056F184D33D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48" creationId="{04F70FFF-498C-4C7F-A7E5-2F1C2542337B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49" creationId="{9DD1EE7A-B8CF-4ADD-A377-FC4C6F31F0C4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50" creationId="{FF309D65-B3FA-4331-93A2-0365393D347B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51" creationId="{EB2304F5-E8D8-4C1C-B783-AA2BAD497737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52" creationId="{BB9CFCE0-0540-4E81-9541-86C44B6E537F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53" creationId="{4B3BE96F-BFBD-4EFF-9E4B-F25BAC211E17}"/>
          </ac:spMkLst>
        </pc:spChg>
        <pc:spChg chg="mod">
          <ac:chgData name="Pirone, Chiara" userId="d9d5b965-323f-43ee-9ca8-6b95d06dc7f9" providerId="ADAL" clId="{EEA06CB2-82F2-4ED8-9229-4AD4686F732E}" dt="2022-05-17T11:16:01.629" v="7759" actId="20577"/>
          <ac:spMkLst>
            <pc:docMk/>
            <pc:sldMk cId="3363024152" sldId="2147375862"/>
            <ac:spMk id="54" creationId="{78699ED4-CC6B-4786-9FAD-4F2FFAFE56EC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113" creationId="{6045E265-AAD4-4BBF-8570-832CFA1AF652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114" creationId="{D8F00E01-0412-40B6-AADA-8E7B9881E5BE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115" creationId="{64CFE47A-2FE4-4807-850C-AFD8DA03569E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116" creationId="{C8293345-37BF-4A45-A2B8-A8F8AE0EB9DC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117" creationId="{3EA17781-F592-4C44-B0C4-D36B244BFA12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118" creationId="{B9D26AC5-660F-4BF0-87F8-28795F2DFE82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119" creationId="{4A651300-8432-4E0F-A791-2309AB8835FC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120" creationId="{ECC5AF77-B51D-48D4-94F5-3825326DA390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121" creationId="{56EDEAA1-AB06-47CA-B5EB-3D5104E5C6A9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122" creationId="{5FAF021D-D231-47A4-AC07-AA97135676D8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123" creationId="{29908ABE-C12C-4B2C-84E6-2FBDFABDB8B4}"/>
          </ac:spMkLst>
        </pc:spChg>
        <pc:spChg chg="mod">
          <ac:chgData name="Pirone, Chiara" userId="d9d5b965-323f-43ee-9ca8-6b95d06dc7f9" providerId="ADAL" clId="{EEA06CB2-82F2-4ED8-9229-4AD4686F732E}" dt="2022-05-17T11:15:29.906" v="7693" actId="2711"/>
          <ac:spMkLst>
            <pc:docMk/>
            <pc:sldMk cId="3363024152" sldId="2147375862"/>
            <ac:spMk id="128" creationId="{CBC0FB62-6383-4A1C-B117-7C6E5733CDA3}"/>
          </ac:spMkLst>
        </pc:spChg>
        <pc:picChg chg="add mod">
          <ac:chgData name="Pirone, Chiara" userId="d9d5b965-323f-43ee-9ca8-6b95d06dc7f9" providerId="ADAL" clId="{EEA06CB2-82F2-4ED8-9229-4AD4686F732E}" dt="2022-05-17T14:38:59.360" v="9762"/>
          <ac:picMkLst>
            <pc:docMk/>
            <pc:sldMk cId="3363024152" sldId="2147375862"/>
            <ac:picMk id="61" creationId="{0BE54E51-7607-4F56-B3D9-01BDDB73A568}"/>
          </ac:picMkLst>
        </pc:picChg>
      </pc:sldChg>
      <pc:sldChg chg="addSp delSp modSp add del mod ord">
        <pc:chgData name="Pirone, Chiara" userId="d9d5b965-323f-43ee-9ca8-6b95d06dc7f9" providerId="ADAL" clId="{EEA06CB2-82F2-4ED8-9229-4AD4686F732E}" dt="2022-05-17T13:51:53.477" v="8432"/>
        <pc:sldMkLst>
          <pc:docMk/>
          <pc:sldMk cId="298007145" sldId="2147375863"/>
        </pc:sldMkLst>
        <pc:spChg chg="del mod">
          <ac:chgData name="Pirone, Chiara" userId="d9d5b965-323f-43ee-9ca8-6b95d06dc7f9" providerId="ADAL" clId="{EEA06CB2-82F2-4ED8-9229-4AD4686F732E}" dt="2022-05-13T08:00:35.522" v="345" actId="478"/>
          <ac:spMkLst>
            <pc:docMk/>
            <pc:sldMk cId="298007145" sldId="2147375863"/>
            <ac:spMk id="6" creationId="{CCD1E499-5174-40E7-8BC8-01B06FDB2FAF}"/>
          </ac:spMkLst>
        </pc:spChg>
        <pc:spChg chg="add 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12" creationId="{282C3D70-DB65-4F75-BD55-1248494DB8A6}"/>
          </ac:spMkLst>
        </pc:spChg>
        <pc:spChg chg="add 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13" creationId="{11366DF1-7953-49C5-A6D7-92F4C05421C2}"/>
          </ac:spMkLst>
        </pc:spChg>
        <pc:spChg chg="add 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14" creationId="{23AA7FDB-34C2-4A8A-97F0-DADEF10CBF39}"/>
          </ac:spMkLst>
        </pc:spChg>
        <pc:spChg chg="add mod">
          <ac:chgData name="Pirone, Chiara" userId="d9d5b965-323f-43ee-9ca8-6b95d06dc7f9" providerId="ADAL" clId="{EEA06CB2-82F2-4ED8-9229-4AD4686F732E}" dt="2022-05-17T10:51:52.453" v="7091" actId="1038"/>
          <ac:spMkLst>
            <pc:docMk/>
            <pc:sldMk cId="298007145" sldId="2147375863"/>
            <ac:spMk id="15" creationId="{0C3EBC0B-3908-41DB-876D-11FC12F37631}"/>
          </ac:spMkLst>
        </pc:spChg>
        <pc:spChg chg="add mod">
          <ac:chgData name="Pirone, Chiara" userId="d9d5b965-323f-43ee-9ca8-6b95d06dc7f9" providerId="ADAL" clId="{EEA06CB2-82F2-4ED8-9229-4AD4686F732E}" dt="2022-05-17T10:51:52.453" v="7091" actId="1038"/>
          <ac:spMkLst>
            <pc:docMk/>
            <pc:sldMk cId="298007145" sldId="2147375863"/>
            <ac:spMk id="16" creationId="{B374BC1A-4F08-4C90-99E2-93C7C36E63AF}"/>
          </ac:spMkLst>
        </pc:spChg>
        <pc:spChg chg="add mod">
          <ac:chgData name="Pirone, Chiara" userId="d9d5b965-323f-43ee-9ca8-6b95d06dc7f9" providerId="ADAL" clId="{EEA06CB2-82F2-4ED8-9229-4AD4686F732E}" dt="2022-05-17T10:51:54.921" v="7096" actId="1038"/>
          <ac:spMkLst>
            <pc:docMk/>
            <pc:sldMk cId="298007145" sldId="2147375863"/>
            <ac:spMk id="17" creationId="{06F39E87-6D92-4E09-BADA-980B028B2463}"/>
          </ac:spMkLst>
        </pc:spChg>
        <pc:spChg chg="add mod">
          <ac:chgData name="Pirone, Chiara" userId="d9d5b965-323f-43ee-9ca8-6b95d06dc7f9" providerId="ADAL" clId="{EEA06CB2-82F2-4ED8-9229-4AD4686F732E}" dt="2022-05-17T10:51:54.921" v="7096" actId="1038"/>
          <ac:spMkLst>
            <pc:docMk/>
            <pc:sldMk cId="298007145" sldId="2147375863"/>
            <ac:spMk id="18" creationId="{2F6A7D03-141D-45B9-A876-0A56E5327745}"/>
          </ac:spMkLst>
        </pc:spChg>
        <pc:spChg chg="add mod">
          <ac:chgData name="Pirone, Chiara" userId="d9d5b965-323f-43ee-9ca8-6b95d06dc7f9" providerId="ADAL" clId="{EEA06CB2-82F2-4ED8-9229-4AD4686F732E}" dt="2022-05-17T10:51:54.921" v="7096" actId="1038"/>
          <ac:spMkLst>
            <pc:docMk/>
            <pc:sldMk cId="298007145" sldId="2147375863"/>
            <ac:spMk id="19" creationId="{1B4E0311-880A-4040-9011-5B1D42049401}"/>
          </ac:spMkLst>
        </pc:spChg>
        <pc:spChg chg="del">
          <ac:chgData name="Pirone, Chiara" userId="d9d5b965-323f-43ee-9ca8-6b95d06dc7f9" providerId="ADAL" clId="{EEA06CB2-82F2-4ED8-9229-4AD4686F732E}" dt="2022-05-13T07:56:14.776" v="66" actId="478"/>
          <ac:spMkLst>
            <pc:docMk/>
            <pc:sldMk cId="298007145" sldId="2147375863"/>
            <ac:spMk id="21" creationId="{D617CEAE-F5ED-460C-BA14-9CDD13065885}"/>
          </ac:spMkLst>
        </pc:spChg>
        <pc:spChg chg="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23" creationId="{8D2C23B4-1609-4449-9083-BC9D7DB7A462}"/>
          </ac:spMkLst>
        </pc:spChg>
        <pc:spChg chg="add del mod">
          <ac:chgData name="Pirone, Chiara" userId="d9d5b965-323f-43ee-9ca8-6b95d06dc7f9" providerId="ADAL" clId="{EEA06CB2-82F2-4ED8-9229-4AD4686F732E}" dt="2022-05-13T08:01:20.190" v="409" actId="478"/>
          <ac:spMkLst>
            <pc:docMk/>
            <pc:sldMk cId="298007145" sldId="2147375863"/>
            <ac:spMk id="24" creationId="{B59C18F0-B880-4465-B79D-A21DF268F393}"/>
          </ac:spMkLst>
        </pc:spChg>
        <pc:spChg chg="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24" creationId="{D69BF79B-D104-4BA2-88EF-9D15CAC09213}"/>
          </ac:spMkLst>
        </pc:spChg>
        <pc:spChg chg="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25" creationId="{A032AE05-D132-4D1B-9661-2E88ED6FD918}"/>
          </ac:spMkLst>
        </pc:spChg>
        <pc:spChg chg="add del mod">
          <ac:chgData name="Pirone, Chiara" userId="d9d5b965-323f-43ee-9ca8-6b95d06dc7f9" providerId="ADAL" clId="{EEA06CB2-82F2-4ED8-9229-4AD4686F732E}" dt="2022-05-13T09:25:23.160" v="1346" actId="478"/>
          <ac:spMkLst>
            <pc:docMk/>
            <pc:sldMk cId="298007145" sldId="2147375863"/>
            <ac:spMk id="25" creationId="{FBDBF323-11FA-40EE-8397-690259A3E013}"/>
          </ac:spMkLst>
        </pc:spChg>
        <pc:spChg chg="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26" creationId="{9BDD2937-FF36-474A-86F7-229013C33B39}"/>
          </ac:spMkLst>
        </pc:spChg>
        <pc:spChg chg="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27" creationId="{F8E48EB9-6EF7-48B8-82D8-D8BAC3264631}"/>
          </ac:spMkLst>
        </pc:spChg>
        <pc:spChg chg="add del mod">
          <ac:chgData name="Pirone, Chiara" userId="d9d5b965-323f-43ee-9ca8-6b95d06dc7f9" providerId="ADAL" clId="{EEA06CB2-82F2-4ED8-9229-4AD4686F732E}" dt="2022-05-17T10:48:01.666" v="6985" actId="478"/>
          <ac:spMkLst>
            <pc:docMk/>
            <pc:sldMk cId="298007145" sldId="2147375863"/>
            <ac:spMk id="28" creationId="{75740BA6-7A0B-48C9-8AC3-633CC43F2160}"/>
          </ac:spMkLst>
        </pc:spChg>
        <pc:spChg chg="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29" creationId="{87136CC0-22E4-418F-B859-3358422C5287}"/>
          </ac:spMkLst>
        </pc:spChg>
        <pc:spChg chg="add del">
          <ac:chgData name="Pirone, Chiara" userId="d9d5b965-323f-43ee-9ca8-6b95d06dc7f9" providerId="ADAL" clId="{EEA06CB2-82F2-4ED8-9229-4AD4686F732E}" dt="2022-05-13T09:25:28.102" v="1349" actId="22"/>
          <ac:spMkLst>
            <pc:docMk/>
            <pc:sldMk cId="298007145" sldId="2147375863"/>
            <ac:spMk id="30" creationId="{3D68F4E9-B5DA-4BAE-AB7D-EF1278A8B0AD}"/>
          </ac:spMkLst>
        </pc:spChg>
        <pc:spChg chg="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30" creationId="{45C14FA3-FA02-45F2-96F3-E663AAEB0383}"/>
          </ac:spMkLst>
        </pc:spChg>
        <pc:spChg chg="add del mod">
          <ac:chgData name="Pirone, Chiara" userId="d9d5b965-323f-43ee-9ca8-6b95d06dc7f9" providerId="ADAL" clId="{EEA06CB2-82F2-4ED8-9229-4AD4686F732E}" dt="2022-05-17T10:48:01.666" v="6985" actId="478"/>
          <ac:spMkLst>
            <pc:docMk/>
            <pc:sldMk cId="298007145" sldId="2147375863"/>
            <ac:spMk id="31" creationId="{0161019C-3ED1-4451-B45A-9648ED7E3A8E}"/>
          </ac:spMkLst>
        </pc:spChg>
        <pc:spChg chg="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32" creationId="{CC11C2A3-BB14-48A9-8A75-CEA006B80467}"/>
          </ac:spMkLst>
        </pc:spChg>
        <pc:spChg chg="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33" creationId="{B35D7E89-89CA-4D42-BE12-C5478E7F105F}"/>
          </ac:spMkLst>
        </pc:spChg>
        <pc:spChg chg="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34" creationId="{D0F97F86-6126-48C5-9900-FBA2747E15AD}"/>
          </ac:spMkLst>
        </pc:spChg>
        <pc:spChg chg="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35" creationId="{0AF9AFB1-58BB-460A-A04F-CB963EAD01F5}"/>
          </ac:spMkLst>
        </pc:spChg>
        <pc:spChg chg="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36" creationId="{2FB74550-4CBF-4139-869D-780B170A48A2}"/>
          </ac:spMkLst>
        </pc:spChg>
        <pc:spChg chg="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37" creationId="{0893B854-F4C3-4854-AB3D-158D530FE130}"/>
          </ac:spMkLst>
        </pc:spChg>
        <pc:spChg chg="mod">
          <ac:chgData name="Pirone, Chiara" userId="d9d5b965-323f-43ee-9ca8-6b95d06dc7f9" providerId="ADAL" clId="{EEA06CB2-82F2-4ED8-9229-4AD4686F732E}" dt="2022-05-17T10:51:48.783" v="7080" actId="1037"/>
          <ac:spMkLst>
            <pc:docMk/>
            <pc:sldMk cId="298007145" sldId="2147375863"/>
            <ac:spMk id="38" creationId="{FED24E30-B5DC-42AE-A22E-F643607DD6AE}"/>
          </ac:spMkLst>
        </pc:spChg>
        <pc:spChg chg="add mod">
          <ac:chgData name="Pirone, Chiara" userId="d9d5b965-323f-43ee-9ca8-6b95d06dc7f9" providerId="ADAL" clId="{EEA06CB2-82F2-4ED8-9229-4AD4686F732E}" dt="2022-05-17T10:51:57.709" v="7099" actId="1037"/>
          <ac:spMkLst>
            <pc:docMk/>
            <pc:sldMk cId="298007145" sldId="2147375863"/>
            <ac:spMk id="39" creationId="{9C19EAC8-F231-4F51-842C-938841311CCD}"/>
          </ac:spMkLst>
        </pc:spChg>
        <pc:spChg chg="del mod">
          <ac:chgData name="Pirone, Chiara" userId="d9d5b965-323f-43ee-9ca8-6b95d06dc7f9" providerId="ADAL" clId="{EEA06CB2-82F2-4ED8-9229-4AD4686F732E}" dt="2022-05-13T09:25:42.551" v="1354" actId="478"/>
          <ac:spMkLst>
            <pc:docMk/>
            <pc:sldMk cId="298007145" sldId="2147375863"/>
            <ac:spMk id="55" creationId="{DA1CE9F5-4418-4B10-AA17-FF17F3E9DFA5}"/>
          </ac:spMkLst>
        </pc:spChg>
        <pc:spChg chg="del mod">
          <ac:chgData name="Pirone, Chiara" userId="d9d5b965-323f-43ee-9ca8-6b95d06dc7f9" providerId="ADAL" clId="{EEA06CB2-82F2-4ED8-9229-4AD4686F732E}" dt="2022-05-17T10:48:01.666" v="6985" actId="478"/>
          <ac:spMkLst>
            <pc:docMk/>
            <pc:sldMk cId="298007145" sldId="2147375863"/>
            <ac:spMk id="93" creationId="{9013F897-E142-4B04-8EEA-ACC31BFA54D2}"/>
          </ac:spMkLst>
        </pc:spChg>
        <pc:spChg chg="del mod">
          <ac:chgData name="Pirone, Chiara" userId="d9d5b965-323f-43ee-9ca8-6b95d06dc7f9" providerId="ADAL" clId="{EEA06CB2-82F2-4ED8-9229-4AD4686F732E}" dt="2022-05-17T10:48:01.666" v="6985" actId="478"/>
          <ac:spMkLst>
            <pc:docMk/>
            <pc:sldMk cId="298007145" sldId="2147375863"/>
            <ac:spMk id="100" creationId="{C0C4A273-BC7E-4EF7-B6FD-43CF63E27988}"/>
          </ac:spMkLst>
        </pc:spChg>
        <pc:spChg chg="del">
          <ac:chgData name="Pirone, Chiara" userId="d9d5b965-323f-43ee-9ca8-6b95d06dc7f9" providerId="ADAL" clId="{EEA06CB2-82F2-4ED8-9229-4AD4686F732E}" dt="2022-05-13T07:56:14.776" v="66" actId="478"/>
          <ac:spMkLst>
            <pc:docMk/>
            <pc:sldMk cId="298007145" sldId="2147375863"/>
            <ac:spMk id="127" creationId="{779F7E22-45F2-4DEA-8D4C-63EFABBBC66C}"/>
          </ac:spMkLst>
        </pc:spChg>
        <pc:spChg chg="del">
          <ac:chgData name="Pirone, Chiara" userId="d9d5b965-323f-43ee-9ca8-6b95d06dc7f9" providerId="ADAL" clId="{EEA06CB2-82F2-4ED8-9229-4AD4686F732E}" dt="2022-05-13T07:56:14.776" v="66" actId="478"/>
          <ac:spMkLst>
            <pc:docMk/>
            <pc:sldMk cId="298007145" sldId="2147375863"/>
            <ac:spMk id="130" creationId="{332C8CCC-3C6B-487B-8CE3-3A754B31332C}"/>
          </ac:spMkLst>
        </pc:spChg>
        <pc:spChg chg="del">
          <ac:chgData name="Pirone, Chiara" userId="d9d5b965-323f-43ee-9ca8-6b95d06dc7f9" providerId="ADAL" clId="{EEA06CB2-82F2-4ED8-9229-4AD4686F732E}" dt="2022-05-13T07:56:14.776" v="66" actId="478"/>
          <ac:spMkLst>
            <pc:docMk/>
            <pc:sldMk cId="298007145" sldId="2147375863"/>
            <ac:spMk id="133" creationId="{41F9FEBB-73A4-4278-8B1E-282FAD8329C4}"/>
          </ac:spMkLst>
        </pc:spChg>
        <pc:spChg chg="mod">
          <ac:chgData name="Pirone, Chiara" userId="d9d5b965-323f-43ee-9ca8-6b95d06dc7f9" providerId="ADAL" clId="{EEA06CB2-82F2-4ED8-9229-4AD4686F732E}" dt="2022-05-17T10:51:02.098" v="7061" actId="20577"/>
          <ac:spMkLst>
            <pc:docMk/>
            <pc:sldMk cId="298007145" sldId="2147375863"/>
            <ac:spMk id="137" creationId="{C0127670-E626-445F-930E-9E44C37BE878}"/>
          </ac:spMkLst>
        </pc:spChg>
        <pc:spChg chg="del mod">
          <ac:chgData name="Pirone, Chiara" userId="d9d5b965-323f-43ee-9ca8-6b95d06dc7f9" providerId="ADAL" clId="{EEA06CB2-82F2-4ED8-9229-4AD4686F732E}" dt="2022-05-17T10:48:01.666" v="6985" actId="478"/>
          <ac:spMkLst>
            <pc:docMk/>
            <pc:sldMk cId="298007145" sldId="2147375863"/>
            <ac:spMk id="148" creationId="{E64A970A-1DF5-4F75-862B-7D9672E915C4}"/>
          </ac:spMkLst>
        </pc:spChg>
        <pc:spChg chg="del mod">
          <ac:chgData name="Pirone, Chiara" userId="d9d5b965-323f-43ee-9ca8-6b95d06dc7f9" providerId="ADAL" clId="{EEA06CB2-82F2-4ED8-9229-4AD4686F732E}" dt="2022-05-13T08:15:15.540" v="984" actId="478"/>
          <ac:spMkLst>
            <pc:docMk/>
            <pc:sldMk cId="298007145" sldId="2147375863"/>
            <ac:spMk id="155" creationId="{782DCD8E-2E97-4DB4-B744-F205FF519935}"/>
          </ac:spMkLst>
        </pc:spChg>
        <pc:spChg chg="del">
          <ac:chgData name="Pirone, Chiara" userId="d9d5b965-323f-43ee-9ca8-6b95d06dc7f9" providerId="ADAL" clId="{EEA06CB2-82F2-4ED8-9229-4AD4686F732E}" dt="2022-05-13T07:56:14.776" v="66" actId="478"/>
          <ac:spMkLst>
            <pc:docMk/>
            <pc:sldMk cId="298007145" sldId="2147375863"/>
            <ac:spMk id="167" creationId="{6FC59545-488E-48B3-9B67-9A3ED9611913}"/>
          </ac:spMkLst>
        </pc:spChg>
        <pc:grpChg chg="add mod">
          <ac:chgData name="Pirone, Chiara" userId="d9d5b965-323f-43ee-9ca8-6b95d06dc7f9" providerId="ADAL" clId="{EEA06CB2-82F2-4ED8-9229-4AD4686F732E}" dt="2022-05-17T10:51:48.783" v="7080" actId="1037"/>
          <ac:grpSpMkLst>
            <pc:docMk/>
            <pc:sldMk cId="298007145" sldId="2147375863"/>
            <ac:grpSpMk id="22" creationId="{2E5BE0DB-BCE4-49D2-9A2F-A29CC1B47F5E}"/>
          </ac:grpSpMkLst>
        </pc:grpChg>
        <pc:grpChg chg="del">
          <ac:chgData name="Pirone, Chiara" userId="d9d5b965-323f-43ee-9ca8-6b95d06dc7f9" providerId="ADAL" clId="{EEA06CB2-82F2-4ED8-9229-4AD4686F732E}" dt="2022-05-13T07:56:35.795" v="69" actId="478"/>
          <ac:grpSpMkLst>
            <pc:docMk/>
            <pc:sldMk cId="298007145" sldId="2147375863"/>
            <ac:grpSpMk id="138" creationId="{9246B5CA-5C7D-47D4-B275-52337F2F68A8}"/>
          </ac:grpSpMkLst>
        </pc:grpChg>
        <pc:picChg chg="add del mod">
          <ac:chgData name="Pirone, Chiara" userId="d9d5b965-323f-43ee-9ca8-6b95d06dc7f9" providerId="ADAL" clId="{EEA06CB2-82F2-4ED8-9229-4AD4686F732E}" dt="2022-05-17T10:54:45.357" v="7222" actId="478"/>
          <ac:picMkLst>
            <pc:docMk/>
            <pc:sldMk cId="298007145" sldId="2147375863"/>
            <ac:picMk id="3" creationId="{DEB55871-66F5-43E2-B08B-D99FB7532319}"/>
          </ac:picMkLst>
        </pc:picChg>
        <pc:picChg chg="add mod">
          <ac:chgData name="Pirone, Chiara" userId="d9d5b965-323f-43ee-9ca8-6b95d06dc7f9" providerId="ADAL" clId="{EEA06CB2-82F2-4ED8-9229-4AD4686F732E}" dt="2022-05-17T10:51:54.921" v="7096" actId="1038"/>
          <ac:picMkLst>
            <pc:docMk/>
            <pc:sldMk cId="298007145" sldId="2147375863"/>
            <ac:picMk id="20" creationId="{9794F051-C4A2-482A-A57E-ECDB36AB45E7}"/>
          </ac:picMkLst>
        </pc:picChg>
        <pc:picChg chg="add mod">
          <ac:chgData name="Pirone, Chiara" userId="d9d5b965-323f-43ee-9ca8-6b95d06dc7f9" providerId="ADAL" clId="{EEA06CB2-82F2-4ED8-9229-4AD4686F732E}" dt="2022-05-17T10:51:52.453" v="7091" actId="1038"/>
          <ac:picMkLst>
            <pc:docMk/>
            <pc:sldMk cId="298007145" sldId="2147375863"/>
            <ac:picMk id="21" creationId="{E43615AA-BBE5-48C9-A207-C7D4EE13A8A0}"/>
          </ac:picMkLst>
        </pc:picChg>
        <pc:picChg chg="add del mod">
          <ac:chgData name="Pirone, Chiara" userId="d9d5b965-323f-43ee-9ca8-6b95d06dc7f9" providerId="ADAL" clId="{EEA06CB2-82F2-4ED8-9229-4AD4686F732E}" dt="2022-05-17T10:55:52.787" v="7241" actId="478"/>
          <ac:picMkLst>
            <pc:docMk/>
            <pc:sldMk cId="298007145" sldId="2147375863"/>
            <ac:picMk id="40" creationId="{DF5D770F-2CC7-461E-BDA4-B552F65A8F68}"/>
          </ac:picMkLst>
        </pc:picChg>
        <pc:picChg chg="add mod">
          <ac:chgData name="Pirone, Chiara" userId="d9d5b965-323f-43ee-9ca8-6b95d06dc7f9" providerId="ADAL" clId="{EEA06CB2-82F2-4ED8-9229-4AD4686F732E}" dt="2022-05-17T10:55:53.072" v="7242"/>
          <ac:picMkLst>
            <pc:docMk/>
            <pc:sldMk cId="298007145" sldId="2147375863"/>
            <ac:picMk id="41" creationId="{D0339AE7-210A-48AB-B349-FCD62BFFDB84}"/>
          </ac:picMkLst>
        </pc:picChg>
        <pc:cxnChg chg="del">
          <ac:chgData name="Pirone, Chiara" userId="d9d5b965-323f-43ee-9ca8-6b95d06dc7f9" providerId="ADAL" clId="{EEA06CB2-82F2-4ED8-9229-4AD4686F732E}" dt="2022-05-13T07:56:35.795" v="69" actId="478"/>
          <ac:cxnSpMkLst>
            <pc:docMk/>
            <pc:sldMk cId="298007145" sldId="2147375863"/>
            <ac:cxnSpMk id="154" creationId="{C4EA707D-C8B7-4E29-B856-D9403C5D1A34}"/>
          </ac:cxnSpMkLst>
        </pc:cxnChg>
      </pc:sldChg>
      <pc:sldChg chg="addSp delSp modSp add mod ord modShow">
        <pc:chgData name="Pirone, Chiara" userId="d9d5b965-323f-43ee-9ca8-6b95d06dc7f9" providerId="ADAL" clId="{EEA06CB2-82F2-4ED8-9229-4AD4686F732E}" dt="2022-05-17T09:35:40.225" v="5575"/>
        <pc:sldMkLst>
          <pc:docMk/>
          <pc:sldMk cId="2779323834" sldId="2147375864"/>
        </pc:sldMkLst>
        <pc:spChg chg="add del mod ord">
          <ac:chgData name="Pirone, Chiara" userId="d9d5b965-323f-43ee-9ca8-6b95d06dc7f9" providerId="ADAL" clId="{EEA06CB2-82F2-4ED8-9229-4AD4686F732E}" dt="2022-05-17T09:28:43.770" v="5469" actId="208"/>
          <ac:spMkLst>
            <pc:docMk/>
            <pc:sldMk cId="2779323834" sldId="2147375864"/>
            <ac:spMk id="2" creationId="{DF8F6795-9B1B-4285-8E18-7B62D6B3DCDF}"/>
          </ac:spMkLst>
        </pc:spChg>
        <pc:spChg chg="add del mod">
          <ac:chgData name="Pirone, Chiara" userId="d9d5b965-323f-43ee-9ca8-6b95d06dc7f9" providerId="ADAL" clId="{EEA06CB2-82F2-4ED8-9229-4AD4686F732E}" dt="2022-05-13T08:03:33.870" v="626"/>
          <ac:spMkLst>
            <pc:docMk/>
            <pc:sldMk cId="2779323834" sldId="2147375864"/>
            <ac:spMk id="14" creationId="{6C9A78FC-B3B7-4507-9BBE-C49AE7B0D81D}"/>
          </ac:spMkLst>
        </pc:spChg>
        <pc:spChg chg="add del mod">
          <ac:chgData name="Pirone, Chiara" userId="d9d5b965-323f-43ee-9ca8-6b95d06dc7f9" providerId="ADAL" clId="{EEA06CB2-82F2-4ED8-9229-4AD4686F732E}" dt="2022-05-13T08:03:33.870" v="626"/>
          <ac:spMkLst>
            <pc:docMk/>
            <pc:sldMk cId="2779323834" sldId="2147375864"/>
            <ac:spMk id="16" creationId="{61865C3C-C506-4DBA-9E20-CED488812E80}"/>
          </ac:spMkLst>
        </pc:spChg>
        <pc:spChg chg="mod">
          <ac:chgData name="Pirone, Chiara" userId="d9d5b965-323f-43ee-9ca8-6b95d06dc7f9" providerId="ADAL" clId="{EEA06CB2-82F2-4ED8-9229-4AD4686F732E}" dt="2022-05-13T08:03:30.668" v="625"/>
          <ac:spMkLst>
            <pc:docMk/>
            <pc:sldMk cId="2779323834" sldId="2147375864"/>
            <ac:spMk id="19" creationId="{64549392-2755-4411-99C6-13A0FAAC82B9}"/>
          </ac:spMkLst>
        </pc:spChg>
        <pc:spChg chg="mod">
          <ac:chgData name="Pirone, Chiara" userId="d9d5b965-323f-43ee-9ca8-6b95d06dc7f9" providerId="ADAL" clId="{EEA06CB2-82F2-4ED8-9229-4AD4686F732E}" dt="2022-05-13T08:03:30.668" v="625"/>
          <ac:spMkLst>
            <pc:docMk/>
            <pc:sldMk cId="2779323834" sldId="2147375864"/>
            <ac:spMk id="21" creationId="{25C6BD80-6094-489D-9EC9-1F2B59FAC631}"/>
          </ac:spMkLst>
        </pc:spChg>
        <pc:spChg chg="mod">
          <ac:chgData name="Pirone, Chiara" userId="d9d5b965-323f-43ee-9ca8-6b95d06dc7f9" providerId="ADAL" clId="{EEA06CB2-82F2-4ED8-9229-4AD4686F732E}" dt="2022-05-13T08:03:30.668" v="625"/>
          <ac:spMkLst>
            <pc:docMk/>
            <pc:sldMk cId="2779323834" sldId="2147375864"/>
            <ac:spMk id="23" creationId="{2D181418-E82A-4023-A0AE-C65F16CE9C0D}"/>
          </ac:spMkLst>
        </pc:spChg>
        <pc:spChg chg="del">
          <ac:chgData name="Pirone, Chiara" userId="d9d5b965-323f-43ee-9ca8-6b95d06dc7f9" providerId="ADAL" clId="{EEA06CB2-82F2-4ED8-9229-4AD4686F732E}" dt="2022-05-13T08:03:22.101" v="623" actId="478"/>
          <ac:spMkLst>
            <pc:docMk/>
            <pc:sldMk cId="2779323834" sldId="2147375864"/>
            <ac:spMk id="25" creationId="{FBDBF323-11FA-40EE-8397-690259A3E013}"/>
          </ac:spMkLst>
        </pc:spChg>
        <pc:spChg chg="mod">
          <ac:chgData name="Pirone, Chiara" userId="d9d5b965-323f-43ee-9ca8-6b95d06dc7f9" providerId="ADAL" clId="{EEA06CB2-82F2-4ED8-9229-4AD4686F732E}" dt="2022-05-13T08:03:30.668" v="625"/>
          <ac:spMkLst>
            <pc:docMk/>
            <pc:sldMk cId="2779323834" sldId="2147375864"/>
            <ac:spMk id="26" creationId="{70D2847A-3EA5-437A-9224-10968D5D8602}"/>
          </ac:spMkLst>
        </pc:spChg>
        <pc:spChg chg="mod">
          <ac:chgData name="Pirone, Chiara" userId="d9d5b965-323f-43ee-9ca8-6b95d06dc7f9" providerId="ADAL" clId="{EEA06CB2-82F2-4ED8-9229-4AD4686F732E}" dt="2022-05-13T08:03:30.668" v="625"/>
          <ac:spMkLst>
            <pc:docMk/>
            <pc:sldMk cId="2779323834" sldId="2147375864"/>
            <ac:spMk id="28" creationId="{9A9A73B8-D903-472E-84DB-94D9370614B9}"/>
          </ac:spMkLst>
        </pc:spChg>
        <pc:spChg chg="mod">
          <ac:chgData name="Pirone, Chiara" userId="d9d5b965-323f-43ee-9ca8-6b95d06dc7f9" providerId="ADAL" clId="{EEA06CB2-82F2-4ED8-9229-4AD4686F732E}" dt="2022-05-13T08:03:30.668" v="625"/>
          <ac:spMkLst>
            <pc:docMk/>
            <pc:sldMk cId="2779323834" sldId="2147375864"/>
            <ac:spMk id="30" creationId="{BB4BDFC1-43FA-403B-8BA0-68AADAF3C8EF}"/>
          </ac:spMkLst>
        </pc:spChg>
        <pc:spChg chg="mod">
          <ac:chgData name="Pirone, Chiara" userId="d9d5b965-323f-43ee-9ca8-6b95d06dc7f9" providerId="ADAL" clId="{EEA06CB2-82F2-4ED8-9229-4AD4686F732E}" dt="2022-05-13T08:03:30.668" v="625"/>
          <ac:spMkLst>
            <pc:docMk/>
            <pc:sldMk cId="2779323834" sldId="2147375864"/>
            <ac:spMk id="32" creationId="{0FE55D26-BA3B-46B9-A703-229A53B6408E}"/>
          </ac:spMkLst>
        </pc:spChg>
        <pc:spChg chg="mod">
          <ac:chgData name="Pirone, Chiara" userId="d9d5b965-323f-43ee-9ca8-6b95d06dc7f9" providerId="ADAL" clId="{EEA06CB2-82F2-4ED8-9229-4AD4686F732E}" dt="2022-05-13T08:03:30.668" v="625"/>
          <ac:spMkLst>
            <pc:docMk/>
            <pc:sldMk cId="2779323834" sldId="2147375864"/>
            <ac:spMk id="33" creationId="{E9C72B20-3B8D-478F-AF4C-0F1265C09ED1}"/>
          </ac:spMkLst>
        </pc:spChg>
        <pc:spChg chg="mod">
          <ac:chgData name="Pirone, Chiara" userId="d9d5b965-323f-43ee-9ca8-6b95d06dc7f9" providerId="ADAL" clId="{EEA06CB2-82F2-4ED8-9229-4AD4686F732E}" dt="2022-05-13T08:03:30.668" v="625"/>
          <ac:spMkLst>
            <pc:docMk/>
            <pc:sldMk cId="2779323834" sldId="2147375864"/>
            <ac:spMk id="34" creationId="{56ECA9A0-A624-4C17-9D17-C071787C91FB}"/>
          </ac:spMkLst>
        </pc:spChg>
        <pc:spChg chg="mod">
          <ac:chgData name="Pirone, Chiara" userId="d9d5b965-323f-43ee-9ca8-6b95d06dc7f9" providerId="ADAL" clId="{EEA06CB2-82F2-4ED8-9229-4AD4686F732E}" dt="2022-05-13T08:03:30.668" v="625"/>
          <ac:spMkLst>
            <pc:docMk/>
            <pc:sldMk cId="2779323834" sldId="2147375864"/>
            <ac:spMk id="35" creationId="{75F883A3-E5F3-4EFB-A7C9-7CE5913FC6D8}"/>
          </ac:spMkLst>
        </pc:spChg>
        <pc:spChg chg="mod">
          <ac:chgData name="Pirone, Chiara" userId="d9d5b965-323f-43ee-9ca8-6b95d06dc7f9" providerId="ADAL" clId="{EEA06CB2-82F2-4ED8-9229-4AD4686F732E}" dt="2022-05-13T08:03:30.668" v="625"/>
          <ac:spMkLst>
            <pc:docMk/>
            <pc:sldMk cId="2779323834" sldId="2147375864"/>
            <ac:spMk id="37" creationId="{A0B270D5-C9EF-47C6-9E18-F6751C9A487F}"/>
          </ac:spMkLst>
        </pc:spChg>
        <pc:spChg chg="mod">
          <ac:chgData name="Pirone, Chiara" userId="d9d5b965-323f-43ee-9ca8-6b95d06dc7f9" providerId="ADAL" clId="{EEA06CB2-82F2-4ED8-9229-4AD4686F732E}" dt="2022-05-13T08:03:30.668" v="625"/>
          <ac:spMkLst>
            <pc:docMk/>
            <pc:sldMk cId="2779323834" sldId="2147375864"/>
            <ac:spMk id="39" creationId="{93900C9C-C929-4703-87AC-B0F0FE559715}"/>
          </ac:spMkLst>
        </pc:spChg>
        <pc:spChg chg="add mod ord">
          <ac:chgData name="Pirone, Chiara" userId="d9d5b965-323f-43ee-9ca8-6b95d06dc7f9" providerId="ADAL" clId="{EEA06CB2-82F2-4ED8-9229-4AD4686F732E}" dt="2022-05-13T08:11:56.802" v="927" actId="164"/>
          <ac:spMkLst>
            <pc:docMk/>
            <pc:sldMk cId="2779323834" sldId="2147375864"/>
            <ac:spMk id="40" creationId="{91A4E1C7-FC60-4B58-860E-5A2C11150D44}"/>
          </ac:spMkLst>
        </pc:spChg>
        <pc:spChg chg="add mod ord">
          <ac:chgData name="Pirone, Chiara" userId="d9d5b965-323f-43ee-9ca8-6b95d06dc7f9" providerId="ADAL" clId="{EEA06CB2-82F2-4ED8-9229-4AD4686F732E}" dt="2022-05-13T08:11:56.802" v="927" actId="164"/>
          <ac:spMkLst>
            <pc:docMk/>
            <pc:sldMk cId="2779323834" sldId="2147375864"/>
            <ac:spMk id="41" creationId="{AEBEBE2C-FB00-4F4B-8773-9A0C3ECB8F7B}"/>
          </ac:spMkLst>
        </pc:spChg>
        <pc:spChg chg="add mod">
          <ac:chgData name="Pirone, Chiara" userId="d9d5b965-323f-43ee-9ca8-6b95d06dc7f9" providerId="ADAL" clId="{EEA06CB2-82F2-4ED8-9229-4AD4686F732E}" dt="2022-05-13T08:11:56.802" v="927" actId="164"/>
          <ac:spMkLst>
            <pc:docMk/>
            <pc:sldMk cId="2779323834" sldId="2147375864"/>
            <ac:spMk id="42" creationId="{FBEFEACC-CE41-4024-9DF4-050FD5D887EA}"/>
          </ac:spMkLst>
        </pc:spChg>
        <pc:spChg chg="add mod">
          <ac:chgData name="Pirone, Chiara" userId="d9d5b965-323f-43ee-9ca8-6b95d06dc7f9" providerId="ADAL" clId="{EEA06CB2-82F2-4ED8-9229-4AD4686F732E}" dt="2022-05-13T08:11:56.802" v="927" actId="164"/>
          <ac:spMkLst>
            <pc:docMk/>
            <pc:sldMk cId="2779323834" sldId="2147375864"/>
            <ac:spMk id="43" creationId="{10F4A610-B698-45EC-8264-BBE7FA4725E5}"/>
          </ac:spMkLst>
        </pc:spChg>
        <pc:spChg chg="add mod">
          <ac:chgData name="Pirone, Chiara" userId="d9d5b965-323f-43ee-9ca8-6b95d06dc7f9" providerId="ADAL" clId="{EEA06CB2-82F2-4ED8-9229-4AD4686F732E}" dt="2022-05-13T08:11:56.802" v="927" actId="164"/>
          <ac:spMkLst>
            <pc:docMk/>
            <pc:sldMk cId="2779323834" sldId="2147375864"/>
            <ac:spMk id="44" creationId="{A3A93D49-9F32-445B-AB16-E49B5A3CE118}"/>
          </ac:spMkLst>
        </pc:spChg>
        <pc:spChg chg="add mod">
          <ac:chgData name="Pirone, Chiara" userId="d9d5b965-323f-43ee-9ca8-6b95d06dc7f9" providerId="ADAL" clId="{EEA06CB2-82F2-4ED8-9229-4AD4686F732E}" dt="2022-05-13T08:11:56.802" v="927" actId="164"/>
          <ac:spMkLst>
            <pc:docMk/>
            <pc:sldMk cId="2779323834" sldId="2147375864"/>
            <ac:spMk id="45" creationId="{8733367B-0B23-449D-B451-704760530981}"/>
          </ac:spMkLst>
        </pc:spChg>
        <pc:spChg chg="add mod">
          <ac:chgData name="Pirone, Chiara" userId="d9d5b965-323f-43ee-9ca8-6b95d06dc7f9" providerId="ADAL" clId="{EEA06CB2-82F2-4ED8-9229-4AD4686F732E}" dt="2022-05-13T08:11:56.802" v="927" actId="164"/>
          <ac:spMkLst>
            <pc:docMk/>
            <pc:sldMk cId="2779323834" sldId="2147375864"/>
            <ac:spMk id="46" creationId="{13588159-4B90-4DD1-B24D-EEEAF01A68C5}"/>
          </ac:spMkLst>
        </pc:spChg>
        <pc:spChg chg="add mod">
          <ac:chgData name="Pirone, Chiara" userId="d9d5b965-323f-43ee-9ca8-6b95d06dc7f9" providerId="ADAL" clId="{EEA06CB2-82F2-4ED8-9229-4AD4686F732E}" dt="2022-05-13T08:11:56.802" v="927" actId="164"/>
          <ac:spMkLst>
            <pc:docMk/>
            <pc:sldMk cId="2779323834" sldId="2147375864"/>
            <ac:spMk id="47" creationId="{7933956A-EAA4-4B69-B874-7D9FC0D6C41F}"/>
          </ac:spMkLst>
        </pc:spChg>
        <pc:spChg chg="add del mod">
          <ac:chgData name="Pirone, Chiara" userId="d9d5b965-323f-43ee-9ca8-6b95d06dc7f9" providerId="ADAL" clId="{EEA06CB2-82F2-4ED8-9229-4AD4686F732E}" dt="2022-05-13T08:08:07.972" v="840" actId="478"/>
          <ac:spMkLst>
            <pc:docMk/>
            <pc:sldMk cId="2779323834" sldId="2147375864"/>
            <ac:spMk id="48" creationId="{18D41FB9-627A-4F7F-858D-38AF146A54B4}"/>
          </ac:spMkLst>
        </pc:spChg>
        <pc:spChg chg="del">
          <ac:chgData name="Pirone, Chiara" userId="d9d5b965-323f-43ee-9ca8-6b95d06dc7f9" providerId="ADAL" clId="{EEA06CB2-82F2-4ED8-9229-4AD4686F732E}" dt="2022-05-13T08:03:22.101" v="623" actId="478"/>
          <ac:spMkLst>
            <pc:docMk/>
            <pc:sldMk cId="2779323834" sldId="2147375864"/>
            <ac:spMk id="55" creationId="{DA1CE9F5-4418-4B10-AA17-FF17F3E9DFA5}"/>
          </ac:spMkLst>
        </pc:spChg>
        <pc:spChg chg="del">
          <ac:chgData name="Pirone, Chiara" userId="d9d5b965-323f-43ee-9ca8-6b95d06dc7f9" providerId="ADAL" clId="{EEA06CB2-82F2-4ED8-9229-4AD4686F732E}" dt="2022-05-13T08:03:22.101" v="623" actId="478"/>
          <ac:spMkLst>
            <pc:docMk/>
            <pc:sldMk cId="2779323834" sldId="2147375864"/>
            <ac:spMk id="93" creationId="{9013F897-E142-4B04-8EEA-ACC31BFA54D2}"/>
          </ac:spMkLst>
        </pc:spChg>
        <pc:spChg chg="del">
          <ac:chgData name="Pirone, Chiara" userId="d9d5b965-323f-43ee-9ca8-6b95d06dc7f9" providerId="ADAL" clId="{EEA06CB2-82F2-4ED8-9229-4AD4686F732E}" dt="2022-05-13T08:03:22.101" v="623" actId="478"/>
          <ac:spMkLst>
            <pc:docMk/>
            <pc:sldMk cId="2779323834" sldId="2147375864"/>
            <ac:spMk id="100" creationId="{C0C4A273-BC7E-4EF7-B6FD-43CF63E27988}"/>
          </ac:spMkLst>
        </pc:spChg>
        <pc:spChg chg="mod">
          <ac:chgData name="Pirone, Chiara" userId="d9d5b965-323f-43ee-9ca8-6b95d06dc7f9" providerId="ADAL" clId="{EEA06CB2-82F2-4ED8-9229-4AD4686F732E}" dt="2022-05-13T08:12:24.684" v="930" actId="2711"/>
          <ac:spMkLst>
            <pc:docMk/>
            <pc:sldMk cId="2779323834" sldId="2147375864"/>
            <ac:spMk id="137" creationId="{C0127670-E626-445F-930E-9E44C37BE878}"/>
          </ac:spMkLst>
        </pc:spChg>
        <pc:spChg chg="del">
          <ac:chgData name="Pirone, Chiara" userId="d9d5b965-323f-43ee-9ca8-6b95d06dc7f9" providerId="ADAL" clId="{EEA06CB2-82F2-4ED8-9229-4AD4686F732E}" dt="2022-05-13T08:03:22.101" v="623" actId="478"/>
          <ac:spMkLst>
            <pc:docMk/>
            <pc:sldMk cId="2779323834" sldId="2147375864"/>
            <ac:spMk id="148" creationId="{E64A970A-1DF5-4F75-862B-7D9672E915C4}"/>
          </ac:spMkLst>
        </pc:spChg>
        <pc:spChg chg="del">
          <ac:chgData name="Pirone, Chiara" userId="d9d5b965-323f-43ee-9ca8-6b95d06dc7f9" providerId="ADAL" clId="{EEA06CB2-82F2-4ED8-9229-4AD4686F732E}" dt="2022-05-13T08:03:24.334" v="624" actId="478"/>
          <ac:spMkLst>
            <pc:docMk/>
            <pc:sldMk cId="2779323834" sldId="2147375864"/>
            <ac:spMk id="155" creationId="{782DCD8E-2E97-4DB4-B744-F205FF519935}"/>
          </ac:spMkLst>
        </pc:spChg>
        <pc:grpChg chg="add mod">
          <ac:chgData name="Pirone, Chiara" userId="d9d5b965-323f-43ee-9ca8-6b95d06dc7f9" providerId="ADAL" clId="{EEA06CB2-82F2-4ED8-9229-4AD4686F732E}" dt="2022-05-13T09:23:36.982" v="1326" actId="1076"/>
          <ac:grpSpMkLst>
            <pc:docMk/>
            <pc:sldMk cId="2779323834" sldId="2147375864"/>
            <ac:grpSpMk id="5" creationId="{611140A0-FFF7-4609-BFA2-B93A5AF5AC67}"/>
          </ac:grpSpMkLst>
        </pc:grpChg>
        <pc:grpChg chg="add del mod">
          <ac:chgData name="Pirone, Chiara" userId="d9d5b965-323f-43ee-9ca8-6b95d06dc7f9" providerId="ADAL" clId="{EEA06CB2-82F2-4ED8-9229-4AD4686F732E}" dt="2022-05-13T08:03:33.870" v="626"/>
          <ac:grpSpMkLst>
            <pc:docMk/>
            <pc:sldMk cId="2779323834" sldId="2147375864"/>
            <ac:grpSpMk id="18" creationId="{F4BD780B-A192-4B6D-877B-DB5D3218C03C}"/>
          </ac:grpSpMkLst>
        </pc:grpChg>
        <pc:grpChg chg="add del mod">
          <ac:chgData name="Pirone, Chiara" userId="d9d5b965-323f-43ee-9ca8-6b95d06dc7f9" providerId="ADAL" clId="{EEA06CB2-82F2-4ED8-9229-4AD4686F732E}" dt="2022-05-13T08:03:33.870" v="626"/>
          <ac:grpSpMkLst>
            <pc:docMk/>
            <pc:sldMk cId="2779323834" sldId="2147375864"/>
            <ac:grpSpMk id="22" creationId="{29FE01F8-FA54-4B4B-BC7E-821A0A70DF58}"/>
          </ac:grpSpMkLst>
        </pc:grpChg>
        <pc:grpChg chg="add del mod">
          <ac:chgData name="Pirone, Chiara" userId="d9d5b965-323f-43ee-9ca8-6b95d06dc7f9" providerId="ADAL" clId="{EEA06CB2-82F2-4ED8-9229-4AD4686F732E}" dt="2022-05-13T08:03:33.870" v="626"/>
          <ac:grpSpMkLst>
            <pc:docMk/>
            <pc:sldMk cId="2779323834" sldId="2147375864"/>
            <ac:grpSpMk id="27" creationId="{387BD2F2-E5C8-4D17-BA6F-0DC80D3B28FD}"/>
          </ac:grpSpMkLst>
        </pc:grpChg>
        <pc:grpChg chg="add del mod">
          <ac:chgData name="Pirone, Chiara" userId="d9d5b965-323f-43ee-9ca8-6b95d06dc7f9" providerId="ADAL" clId="{EEA06CB2-82F2-4ED8-9229-4AD4686F732E}" dt="2022-05-13T08:03:33.870" v="626"/>
          <ac:grpSpMkLst>
            <pc:docMk/>
            <pc:sldMk cId="2779323834" sldId="2147375864"/>
            <ac:grpSpMk id="31" creationId="{E2A8FB24-DAC1-4661-B865-EF25E18BC352}"/>
          </ac:grpSpMkLst>
        </pc:grpChg>
        <pc:grpChg chg="add del mod">
          <ac:chgData name="Pirone, Chiara" userId="d9d5b965-323f-43ee-9ca8-6b95d06dc7f9" providerId="ADAL" clId="{EEA06CB2-82F2-4ED8-9229-4AD4686F732E}" dt="2022-05-13T08:03:33.870" v="626"/>
          <ac:grpSpMkLst>
            <pc:docMk/>
            <pc:sldMk cId="2779323834" sldId="2147375864"/>
            <ac:grpSpMk id="36" creationId="{479943FD-AE43-4377-A862-D82105141AB2}"/>
          </ac:grpSpMkLst>
        </pc:grpChg>
        <pc:picChg chg="del mod">
          <ac:chgData name="Pirone, Chiara" userId="d9d5b965-323f-43ee-9ca8-6b95d06dc7f9" providerId="ADAL" clId="{EEA06CB2-82F2-4ED8-9229-4AD4686F732E}" dt="2022-05-13T09:23:48.082" v="1331" actId="478"/>
          <ac:picMkLst>
            <pc:docMk/>
            <pc:sldMk cId="2779323834" sldId="2147375864"/>
            <ac:picMk id="3" creationId="{DEB55871-66F5-43E2-B08B-D99FB7532319}"/>
          </ac:picMkLst>
        </pc:picChg>
        <pc:picChg chg="add del mod">
          <ac:chgData name="Pirone, Chiara" userId="d9d5b965-323f-43ee-9ca8-6b95d06dc7f9" providerId="ADAL" clId="{EEA06CB2-82F2-4ED8-9229-4AD4686F732E}" dt="2022-05-13T08:03:33.870" v="626"/>
          <ac:picMkLst>
            <pc:docMk/>
            <pc:sldMk cId="2779323834" sldId="2147375864"/>
            <ac:picMk id="13" creationId="{D16C3872-86E3-48D4-88CC-13AABBB5E05E}"/>
          </ac:picMkLst>
        </pc:picChg>
        <pc:picChg chg="add del mod">
          <ac:chgData name="Pirone, Chiara" userId="d9d5b965-323f-43ee-9ca8-6b95d06dc7f9" providerId="ADAL" clId="{EEA06CB2-82F2-4ED8-9229-4AD4686F732E}" dt="2022-05-13T08:03:33.870" v="626"/>
          <ac:picMkLst>
            <pc:docMk/>
            <pc:sldMk cId="2779323834" sldId="2147375864"/>
            <ac:picMk id="15" creationId="{B709FBAC-DBBC-4530-ADA2-8BC11325B48C}"/>
          </ac:picMkLst>
        </pc:picChg>
        <pc:picChg chg="add del mod">
          <ac:chgData name="Pirone, Chiara" userId="d9d5b965-323f-43ee-9ca8-6b95d06dc7f9" providerId="ADAL" clId="{EEA06CB2-82F2-4ED8-9229-4AD4686F732E}" dt="2022-05-13T08:03:33.870" v="626"/>
          <ac:picMkLst>
            <pc:docMk/>
            <pc:sldMk cId="2779323834" sldId="2147375864"/>
            <ac:picMk id="17" creationId="{53F2FB79-75A2-4CC8-AB61-28E49DD507B8}"/>
          </ac:picMkLst>
        </pc:picChg>
        <pc:picChg chg="add mod ord">
          <ac:chgData name="Pirone, Chiara" userId="d9d5b965-323f-43ee-9ca8-6b95d06dc7f9" providerId="ADAL" clId="{EEA06CB2-82F2-4ED8-9229-4AD4686F732E}" dt="2022-05-17T09:28:43.099" v="5466" actId="1076"/>
          <ac:picMkLst>
            <pc:docMk/>
            <pc:sldMk cId="2779323834" sldId="2147375864"/>
            <ac:picMk id="49" creationId="{350BA735-72B7-4770-AF84-09C7ED695CCF}"/>
          </ac:picMkLst>
        </pc:picChg>
        <pc:picChg chg="add mod ord">
          <ac:chgData name="Pirone, Chiara" userId="d9d5b965-323f-43ee-9ca8-6b95d06dc7f9" providerId="ADAL" clId="{EEA06CB2-82F2-4ED8-9229-4AD4686F732E}" dt="2022-05-13T08:09:53.632" v="867" actId="167"/>
          <ac:picMkLst>
            <pc:docMk/>
            <pc:sldMk cId="2779323834" sldId="2147375864"/>
            <ac:picMk id="50" creationId="{72B26724-6943-40F0-8B9F-DA7D3F7BC8CB}"/>
          </ac:picMkLst>
        </pc:picChg>
        <pc:picChg chg="add mod ord">
          <ac:chgData name="Pirone, Chiara" userId="d9d5b965-323f-43ee-9ca8-6b95d06dc7f9" providerId="ADAL" clId="{EEA06CB2-82F2-4ED8-9229-4AD4686F732E}" dt="2022-05-13T08:11:51.331" v="926" actId="1037"/>
          <ac:picMkLst>
            <pc:docMk/>
            <pc:sldMk cId="2779323834" sldId="2147375864"/>
            <ac:picMk id="51" creationId="{FF91D1A3-39B4-4FF6-8303-9CD01B8FB8B1}"/>
          </ac:picMkLst>
        </pc:picChg>
        <pc:picChg chg="add mod ord">
          <ac:chgData name="Pirone, Chiara" userId="d9d5b965-323f-43ee-9ca8-6b95d06dc7f9" providerId="ADAL" clId="{EEA06CB2-82F2-4ED8-9229-4AD4686F732E}" dt="2022-05-13T08:11:56.802" v="927" actId="164"/>
          <ac:picMkLst>
            <pc:docMk/>
            <pc:sldMk cId="2779323834" sldId="2147375864"/>
            <ac:picMk id="52" creationId="{BDF065DC-5D42-4FBC-BB65-2FD0390F3917}"/>
          </ac:picMkLst>
        </pc:picChg>
        <pc:picChg chg="add mod ord">
          <ac:chgData name="Pirone, Chiara" userId="d9d5b965-323f-43ee-9ca8-6b95d06dc7f9" providerId="ADAL" clId="{EEA06CB2-82F2-4ED8-9229-4AD4686F732E}" dt="2022-05-13T08:11:56.802" v="927" actId="164"/>
          <ac:picMkLst>
            <pc:docMk/>
            <pc:sldMk cId="2779323834" sldId="2147375864"/>
            <ac:picMk id="53" creationId="{36ED5FFE-5CC5-48F6-8057-37A4B1CCD583}"/>
          </ac:picMkLst>
        </pc:picChg>
        <pc:picChg chg="add mod ord">
          <ac:chgData name="Pirone, Chiara" userId="d9d5b965-323f-43ee-9ca8-6b95d06dc7f9" providerId="ADAL" clId="{EEA06CB2-82F2-4ED8-9229-4AD4686F732E}" dt="2022-05-13T08:11:56.802" v="927" actId="164"/>
          <ac:picMkLst>
            <pc:docMk/>
            <pc:sldMk cId="2779323834" sldId="2147375864"/>
            <ac:picMk id="54" creationId="{5CF11B44-4A68-47EF-A9B6-5EC326733715}"/>
          </ac:picMkLst>
        </pc:picChg>
        <pc:picChg chg="add mod">
          <ac:chgData name="Pirone, Chiara" userId="d9d5b965-323f-43ee-9ca8-6b95d06dc7f9" providerId="ADAL" clId="{EEA06CB2-82F2-4ED8-9229-4AD4686F732E}" dt="2022-05-13T09:23:48.910" v="1332"/>
          <ac:picMkLst>
            <pc:docMk/>
            <pc:sldMk cId="2779323834" sldId="2147375864"/>
            <ac:picMk id="56" creationId="{ADEBB81F-474D-4101-B889-B50473C502F2}"/>
          </ac:picMkLst>
        </pc:picChg>
        <pc:picChg chg="add del">
          <ac:chgData name="Pirone, Chiara" userId="d9d5b965-323f-43ee-9ca8-6b95d06dc7f9" providerId="ADAL" clId="{EEA06CB2-82F2-4ED8-9229-4AD4686F732E}" dt="2022-05-13T08:12:07.779" v="929" actId="478"/>
          <ac:picMkLst>
            <pc:docMk/>
            <pc:sldMk cId="2779323834" sldId="2147375864"/>
            <ac:picMk id="136" creationId="{F59F0E29-A8B0-469E-85B4-66652E149CD6}"/>
          </ac:picMkLst>
        </pc:picChg>
        <pc:picChg chg="add del mod">
          <ac:chgData name="Pirone, Chiara" userId="d9d5b965-323f-43ee-9ca8-6b95d06dc7f9" providerId="ADAL" clId="{EEA06CB2-82F2-4ED8-9229-4AD4686F732E}" dt="2022-05-17T09:28:46.948" v="5472" actId="21"/>
          <ac:picMkLst>
            <pc:docMk/>
            <pc:sldMk cId="2779323834" sldId="2147375864"/>
            <ac:picMk id="1026" creationId="{C0C614FD-A177-4C70-A1C9-CE82EF7AE3C6}"/>
          </ac:picMkLst>
        </pc:picChg>
        <pc:cxnChg chg="mod">
          <ac:chgData name="Pirone, Chiara" userId="d9d5b965-323f-43ee-9ca8-6b95d06dc7f9" providerId="ADAL" clId="{EEA06CB2-82F2-4ED8-9229-4AD4686F732E}" dt="2022-05-13T08:03:30.668" v="625"/>
          <ac:cxnSpMkLst>
            <pc:docMk/>
            <pc:sldMk cId="2779323834" sldId="2147375864"/>
            <ac:cxnSpMk id="20" creationId="{9DD60A84-7B17-4DD3-93CE-209ADF609CA2}"/>
          </ac:cxnSpMkLst>
        </pc:cxnChg>
        <pc:cxnChg chg="mod">
          <ac:chgData name="Pirone, Chiara" userId="d9d5b965-323f-43ee-9ca8-6b95d06dc7f9" providerId="ADAL" clId="{EEA06CB2-82F2-4ED8-9229-4AD4686F732E}" dt="2022-05-13T08:03:30.668" v="625"/>
          <ac:cxnSpMkLst>
            <pc:docMk/>
            <pc:sldMk cId="2779323834" sldId="2147375864"/>
            <ac:cxnSpMk id="24" creationId="{4659AE6D-3623-4E72-B2F6-0637CE4AAD47}"/>
          </ac:cxnSpMkLst>
        </pc:cxnChg>
        <pc:cxnChg chg="mod">
          <ac:chgData name="Pirone, Chiara" userId="d9d5b965-323f-43ee-9ca8-6b95d06dc7f9" providerId="ADAL" clId="{EEA06CB2-82F2-4ED8-9229-4AD4686F732E}" dt="2022-05-13T08:03:30.668" v="625"/>
          <ac:cxnSpMkLst>
            <pc:docMk/>
            <pc:sldMk cId="2779323834" sldId="2147375864"/>
            <ac:cxnSpMk id="29" creationId="{B845FCF4-10E0-468C-A2A0-BA03A550C7C2}"/>
          </ac:cxnSpMkLst>
        </pc:cxnChg>
        <pc:cxnChg chg="mod">
          <ac:chgData name="Pirone, Chiara" userId="d9d5b965-323f-43ee-9ca8-6b95d06dc7f9" providerId="ADAL" clId="{EEA06CB2-82F2-4ED8-9229-4AD4686F732E}" dt="2022-05-13T08:03:30.668" v="625"/>
          <ac:cxnSpMkLst>
            <pc:docMk/>
            <pc:sldMk cId="2779323834" sldId="2147375864"/>
            <ac:cxnSpMk id="38" creationId="{D93C0DED-B3E5-400B-91CE-1F9775EDC3DF}"/>
          </ac:cxnSpMkLst>
        </pc:cxnChg>
      </pc:sldChg>
      <pc:sldChg chg="addSp delSp modSp add mod ord modShow">
        <pc:chgData name="Pirone, Chiara" userId="d9d5b965-323f-43ee-9ca8-6b95d06dc7f9" providerId="ADAL" clId="{EEA06CB2-82F2-4ED8-9229-4AD4686F732E}" dt="2022-05-17T10:38:50.437" v="6757"/>
        <pc:sldMkLst>
          <pc:docMk/>
          <pc:sldMk cId="1793334461" sldId="2147375865"/>
        </pc:sldMkLst>
        <pc:spChg chg="mod topLvl">
          <ac:chgData name="Pirone, Chiara" userId="d9d5b965-323f-43ee-9ca8-6b95d06dc7f9" providerId="ADAL" clId="{EEA06CB2-82F2-4ED8-9229-4AD4686F732E}" dt="2022-05-13T08:18:31.445" v="1031" actId="164"/>
          <ac:spMkLst>
            <pc:docMk/>
            <pc:sldMk cId="1793334461" sldId="2147375865"/>
            <ac:spMk id="2" creationId="{DF8F6795-9B1B-4285-8E18-7B62D6B3DCDF}"/>
          </ac:spMkLst>
        </pc:spChg>
        <pc:spChg chg="add del mod">
          <ac:chgData name="Pirone, Chiara" userId="d9d5b965-323f-43ee-9ca8-6b95d06dc7f9" providerId="ADAL" clId="{EEA06CB2-82F2-4ED8-9229-4AD4686F732E}" dt="2022-05-13T08:21:20.546" v="1103" actId="478"/>
          <ac:spMkLst>
            <pc:docMk/>
            <pc:sldMk cId="1793334461" sldId="2147375865"/>
            <ac:spMk id="26" creationId="{3B01D6BB-EEB2-4A25-AAD2-58280FB0E913}"/>
          </ac:spMkLst>
        </pc:spChg>
        <pc:spChg chg="add mod">
          <ac:chgData name="Pirone, Chiara" userId="d9d5b965-323f-43ee-9ca8-6b95d06dc7f9" providerId="ADAL" clId="{EEA06CB2-82F2-4ED8-9229-4AD4686F732E}" dt="2022-05-16T14:39:39.293" v="4445" actId="12788"/>
          <ac:spMkLst>
            <pc:docMk/>
            <pc:sldMk cId="1793334461" sldId="2147375865"/>
            <ac:spMk id="28" creationId="{1AD76C2C-DD78-4FAC-AEAB-4C948BD37A83}"/>
          </ac:spMkLst>
        </pc:spChg>
        <pc:spChg chg="add mod">
          <ac:chgData name="Pirone, Chiara" userId="d9d5b965-323f-43ee-9ca8-6b95d06dc7f9" providerId="ADAL" clId="{EEA06CB2-82F2-4ED8-9229-4AD4686F732E}" dt="2022-05-16T14:39:42.742" v="4446" actId="12788"/>
          <ac:spMkLst>
            <pc:docMk/>
            <pc:sldMk cId="1793334461" sldId="2147375865"/>
            <ac:spMk id="29" creationId="{9749A88B-7DF0-413E-9923-D3F539FF9ACE}"/>
          </ac:spMkLst>
        </pc:spChg>
        <pc:spChg chg="add mod">
          <ac:chgData name="Pirone, Chiara" userId="d9d5b965-323f-43ee-9ca8-6b95d06dc7f9" providerId="ADAL" clId="{EEA06CB2-82F2-4ED8-9229-4AD4686F732E}" dt="2022-05-16T14:39:46.557" v="4447" actId="12788"/>
          <ac:spMkLst>
            <pc:docMk/>
            <pc:sldMk cId="1793334461" sldId="2147375865"/>
            <ac:spMk id="30" creationId="{9DBBA2A5-C587-4B19-96C2-DF52C5DA90F4}"/>
          </ac:spMkLst>
        </pc:spChg>
        <pc:spChg chg="add mod">
          <ac:chgData name="Pirone, Chiara" userId="d9d5b965-323f-43ee-9ca8-6b95d06dc7f9" providerId="ADAL" clId="{EEA06CB2-82F2-4ED8-9229-4AD4686F732E}" dt="2022-05-16T14:39:39.293" v="4445" actId="12788"/>
          <ac:spMkLst>
            <pc:docMk/>
            <pc:sldMk cId="1793334461" sldId="2147375865"/>
            <ac:spMk id="31" creationId="{C1874D7F-4545-4963-80F1-E79F4D0B712E}"/>
          </ac:spMkLst>
        </pc:spChg>
        <pc:spChg chg="add mod">
          <ac:chgData name="Pirone, Chiara" userId="d9d5b965-323f-43ee-9ca8-6b95d06dc7f9" providerId="ADAL" clId="{EEA06CB2-82F2-4ED8-9229-4AD4686F732E}" dt="2022-05-16T14:39:42.742" v="4446" actId="12788"/>
          <ac:spMkLst>
            <pc:docMk/>
            <pc:sldMk cId="1793334461" sldId="2147375865"/>
            <ac:spMk id="32" creationId="{1E9B4895-ACA7-496C-9EDA-D5C02D19F1FA}"/>
          </ac:spMkLst>
        </pc:spChg>
        <pc:spChg chg="add mod">
          <ac:chgData name="Pirone, Chiara" userId="d9d5b965-323f-43ee-9ca8-6b95d06dc7f9" providerId="ADAL" clId="{EEA06CB2-82F2-4ED8-9229-4AD4686F732E}" dt="2022-05-16T14:39:46.557" v="4447" actId="12788"/>
          <ac:spMkLst>
            <pc:docMk/>
            <pc:sldMk cId="1793334461" sldId="2147375865"/>
            <ac:spMk id="33" creationId="{78D65352-23E4-43A6-97DB-6881A377C0A7}"/>
          </ac:spMkLst>
        </pc:spChg>
        <pc:spChg chg="add del mod">
          <ac:chgData name="Pirone, Chiara" userId="d9d5b965-323f-43ee-9ca8-6b95d06dc7f9" providerId="ADAL" clId="{EEA06CB2-82F2-4ED8-9229-4AD4686F732E}" dt="2022-05-13T09:22:29.856" v="1267" actId="478"/>
          <ac:spMkLst>
            <pc:docMk/>
            <pc:sldMk cId="1793334461" sldId="2147375865"/>
            <ac:spMk id="34" creationId="{25D5B822-46B6-438E-A5CD-E84C0C7618E2}"/>
          </ac:spMkLst>
        </pc:spChg>
        <pc:spChg chg="add del mod">
          <ac:chgData name="Pirone, Chiara" userId="d9d5b965-323f-43ee-9ca8-6b95d06dc7f9" providerId="ADAL" clId="{EEA06CB2-82F2-4ED8-9229-4AD4686F732E}" dt="2022-05-13T09:22:29.856" v="1267" actId="478"/>
          <ac:spMkLst>
            <pc:docMk/>
            <pc:sldMk cId="1793334461" sldId="2147375865"/>
            <ac:spMk id="35" creationId="{960A4182-1A1F-49CE-A677-F00C2454C2B8}"/>
          </ac:spMkLst>
        </pc:spChg>
        <pc:spChg chg="add del mod">
          <ac:chgData name="Pirone, Chiara" userId="d9d5b965-323f-43ee-9ca8-6b95d06dc7f9" providerId="ADAL" clId="{EEA06CB2-82F2-4ED8-9229-4AD4686F732E}" dt="2022-05-13T09:22:29.856" v="1267" actId="478"/>
          <ac:spMkLst>
            <pc:docMk/>
            <pc:sldMk cId="1793334461" sldId="2147375865"/>
            <ac:spMk id="36" creationId="{16D96884-6725-4D05-B8BB-3E4EBF8F3AD2}"/>
          </ac:spMkLst>
        </pc:spChg>
        <pc:spChg chg="add del mod">
          <ac:chgData name="Pirone, Chiara" userId="d9d5b965-323f-43ee-9ca8-6b95d06dc7f9" providerId="ADAL" clId="{EEA06CB2-82F2-4ED8-9229-4AD4686F732E}" dt="2022-05-13T09:22:29.856" v="1267" actId="478"/>
          <ac:spMkLst>
            <pc:docMk/>
            <pc:sldMk cId="1793334461" sldId="2147375865"/>
            <ac:spMk id="37" creationId="{B0CADFEE-532F-4458-A58C-3AA2958EF671}"/>
          </ac:spMkLst>
        </pc:spChg>
        <pc:spChg chg="add del mod">
          <ac:chgData name="Pirone, Chiara" userId="d9d5b965-323f-43ee-9ca8-6b95d06dc7f9" providerId="ADAL" clId="{EEA06CB2-82F2-4ED8-9229-4AD4686F732E}" dt="2022-05-13T09:22:29.856" v="1267" actId="478"/>
          <ac:spMkLst>
            <pc:docMk/>
            <pc:sldMk cId="1793334461" sldId="2147375865"/>
            <ac:spMk id="38" creationId="{5177DBBB-9FBB-42CB-897A-86111287B136}"/>
          </ac:spMkLst>
        </pc:spChg>
        <pc:spChg chg="add del mod">
          <ac:chgData name="Pirone, Chiara" userId="d9d5b965-323f-43ee-9ca8-6b95d06dc7f9" providerId="ADAL" clId="{EEA06CB2-82F2-4ED8-9229-4AD4686F732E}" dt="2022-05-13T09:22:29.856" v="1267" actId="478"/>
          <ac:spMkLst>
            <pc:docMk/>
            <pc:sldMk cId="1793334461" sldId="2147375865"/>
            <ac:spMk id="39" creationId="{41931141-7272-44D5-91F7-79237AAA6E60}"/>
          </ac:spMkLst>
        </pc:spChg>
        <pc:spChg chg="mod ord topLvl">
          <ac:chgData name="Pirone, Chiara" userId="d9d5b965-323f-43ee-9ca8-6b95d06dc7f9" providerId="ADAL" clId="{EEA06CB2-82F2-4ED8-9229-4AD4686F732E}" dt="2022-05-13T08:18:31.445" v="1031" actId="164"/>
          <ac:spMkLst>
            <pc:docMk/>
            <pc:sldMk cId="1793334461" sldId="2147375865"/>
            <ac:spMk id="40" creationId="{91A4E1C7-FC60-4B58-860E-5A2C11150D44}"/>
          </ac:spMkLst>
        </pc:spChg>
        <pc:spChg chg="mod ord topLvl">
          <ac:chgData name="Pirone, Chiara" userId="d9d5b965-323f-43ee-9ca8-6b95d06dc7f9" providerId="ADAL" clId="{EEA06CB2-82F2-4ED8-9229-4AD4686F732E}" dt="2022-05-13T08:18:31.445" v="1031" actId="164"/>
          <ac:spMkLst>
            <pc:docMk/>
            <pc:sldMk cId="1793334461" sldId="2147375865"/>
            <ac:spMk id="41" creationId="{AEBEBE2C-FB00-4F4B-8773-9A0C3ECB8F7B}"/>
          </ac:spMkLst>
        </pc:spChg>
        <pc:spChg chg="mod topLvl">
          <ac:chgData name="Pirone, Chiara" userId="d9d5b965-323f-43ee-9ca8-6b95d06dc7f9" providerId="ADAL" clId="{EEA06CB2-82F2-4ED8-9229-4AD4686F732E}" dt="2022-05-16T14:39:39.293" v="4445" actId="12788"/>
          <ac:spMkLst>
            <pc:docMk/>
            <pc:sldMk cId="1793334461" sldId="2147375865"/>
            <ac:spMk id="42" creationId="{FBEFEACC-CE41-4024-9DF4-050FD5D887EA}"/>
          </ac:spMkLst>
        </pc:spChg>
        <pc:spChg chg="mod topLvl">
          <ac:chgData name="Pirone, Chiara" userId="d9d5b965-323f-43ee-9ca8-6b95d06dc7f9" providerId="ADAL" clId="{EEA06CB2-82F2-4ED8-9229-4AD4686F732E}" dt="2022-05-16T14:39:42.742" v="4446" actId="12788"/>
          <ac:spMkLst>
            <pc:docMk/>
            <pc:sldMk cId="1793334461" sldId="2147375865"/>
            <ac:spMk id="43" creationId="{10F4A610-B698-45EC-8264-BBE7FA4725E5}"/>
          </ac:spMkLst>
        </pc:spChg>
        <pc:spChg chg="mod topLvl">
          <ac:chgData name="Pirone, Chiara" userId="d9d5b965-323f-43ee-9ca8-6b95d06dc7f9" providerId="ADAL" clId="{EEA06CB2-82F2-4ED8-9229-4AD4686F732E}" dt="2022-05-16T14:39:46.557" v="4447" actId="12788"/>
          <ac:spMkLst>
            <pc:docMk/>
            <pc:sldMk cId="1793334461" sldId="2147375865"/>
            <ac:spMk id="44" creationId="{A3A93D49-9F32-445B-AB16-E49B5A3CE118}"/>
          </ac:spMkLst>
        </pc:spChg>
        <pc:spChg chg="mod topLvl">
          <ac:chgData name="Pirone, Chiara" userId="d9d5b965-323f-43ee-9ca8-6b95d06dc7f9" providerId="ADAL" clId="{EEA06CB2-82F2-4ED8-9229-4AD4686F732E}" dt="2022-05-16T14:39:39.293" v="4445" actId="12788"/>
          <ac:spMkLst>
            <pc:docMk/>
            <pc:sldMk cId="1793334461" sldId="2147375865"/>
            <ac:spMk id="45" creationId="{8733367B-0B23-449D-B451-704760530981}"/>
          </ac:spMkLst>
        </pc:spChg>
        <pc:spChg chg="mod topLvl">
          <ac:chgData name="Pirone, Chiara" userId="d9d5b965-323f-43ee-9ca8-6b95d06dc7f9" providerId="ADAL" clId="{EEA06CB2-82F2-4ED8-9229-4AD4686F732E}" dt="2022-05-16T14:39:42.742" v="4446" actId="12788"/>
          <ac:spMkLst>
            <pc:docMk/>
            <pc:sldMk cId="1793334461" sldId="2147375865"/>
            <ac:spMk id="46" creationId="{13588159-4B90-4DD1-B24D-EEEAF01A68C5}"/>
          </ac:spMkLst>
        </pc:spChg>
        <pc:spChg chg="mod topLvl">
          <ac:chgData name="Pirone, Chiara" userId="d9d5b965-323f-43ee-9ca8-6b95d06dc7f9" providerId="ADAL" clId="{EEA06CB2-82F2-4ED8-9229-4AD4686F732E}" dt="2022-05-16T14:39:46.557" v="4447" actId="12788"/>
          <ac:spMkLst>
            <pc:docMk/>
            <pc:sldMk cId="1793334461" sldId="2147375865"/>
            <ac:spMk id="47" creationId="{7933956A-EAA4-4B69-B874-7D9FC0D6C41F}"/>
          </ac:spMkLst>
        </pc:spChg>
        <pc:spChg chg="add del">
          <ac:chgData name="Pirone, Chiara" userId="d9d5b965-323f-43ee-9ca8-6b95d06dc7f9" providerId="ADAL" clId="{EEA06CB2-82F2-4ED8-9229-4AD4686F732E}" dt="2022-05-13T09:26:25.871" v="1364" actId="22"/>
          <ac:spMkLst>
            <pc:docMk/>
            <pc:sldMk cId="1793334461" sldId="2147375865"/>
            <ac:spMk id="55" creationId="{62DFA673-846D-4BE8-B74B-0E1B8AF366F9}"/>
          </ac:spMkLst>
        </pc:spChg>
        <pc:grpChg chg="del">
          <ac:chgData name="Pirone, Chiara" userId="d9d5b965-323f-43ee-9ca8-6b95d06dc7f9" providerId="ADAL" clId="{EEA06CB2-82F2-4ED8-9229-4AD4686F732E}" dt="2022-05-13T08:17:17.220" v="1004" actId="165"/>
          <ac:grpSpMkLst>
            <pc:docMk/>
            <pc:sldMk cId="1793334461" sldId="2147375865"/>
            <ac:grpSpMk id="5" creationId="{611140A0-FFF7-4609-BFA2-B93A5AF5AC67}"/>
          </ac:grpSpMkLst>
        </pc:grpChg>
        <pc:grpChg chg="add del mod">
          <ac:chgData name="Pirone, Chiara" userId="d9d5b965-323f-43ee-9ca8-6b95d06dc7f9" providerId="ADAL" clId="{EEA06CB2-82F2-4ED8-9229-4AD4686F732E}" dt="2022-05-13T08:18:04.170" v="1025" actId="165"/>
          <ac:grpSpMkLst>
            <pc:docMk/>
            <pc:sldMk cId="1793334461" sldId="2147375865"/>
            <ac:grpSpMk id="6" creationId="{9900E602-17ED-4F77-9FFE-BBCFB1886DD4}"/>
          </ac:grpSpMkLst>
        </pc:grpChg>
        <pc:grpChg chg="add mod">
          <ac:chgData name="Pirone, Chiara" userId="d9d5b965-323f-43ee-9ca8-6b95d06dc7f9" providerId="ADAL" clId="{EEA06CB2-82F2-4ED8-9229-4AD4686F732E}" dt="2022-05-13T08:18:27.870" v="1030" actId="164"/>
          <ac:grpSpMkLst>
            <pc:docMk/>
            <pc:sldMk cId="1793334461" sldId="2147375865"/>
            <ac:grpSpMk id="7" creationId="{2274243F-E5C4-4AA0-B0B9-817D5C7D343E}"/>
          </ac:grpSpMkLst>
        </pc:grpChg>
        <pc:grpChg chg="add mod">
          <ac:chgData name="Pirone, Chiara" userId="d9d5b965-323f-43ee-9ca8-6b95d06dc7f9" providerId="ADAL" clId="{EEA06CB2-82F2-4ED8-9229-4AD4686F732E}" dt="2022-05-13T08:18:31.445" v="1031" actId="164"/>
          <ac:grpSpMkLst>
            <pc:docMk/>
            <pc:sldMk cId="1793334461" sldId="2147375865"/>
            <ac:grpSpMk id="8" creationId="{D1065E86-3F95-43B0-A533-5F0D840C8F70}"/>
          </ac:grpSpMkLst>
        </pc:grpChg>
        <pc:picChg chg="del mod topLvl">
          <ac:chgData name="Pirone, Chiara" userId="d9d5b965-323f-43ee-9ca8-6b95d06dc7f9" providerId="ADAL" clId="{EEA06CB2-82F2-4ED8-9229-4AD4686F732E}" dt="2022-05-13T09:23:52.014" v="1333" actId="478"/>
          <ac:picMkLst>
            <pc:docMk/>
            <pc:sldMk cId="1793334461" sldId="2147375865"/>
            <ac:picMk id="3" creationId="{DEB55871-66F5-43E2-B08B-D99FB7532319}"/>
          </ac:picMkLst>
        </pc:picChg>
        <pc:picChg chg="add mod">
          <ac:chgData name="Pirone, Chiara" userId="d9d5b965-323f-43ee-9ca8-6b95d06dc7f9" providerId="ADAL" clId="{EEA06CB2-82F2-4ED8-9229-4AD4686F732E}" dt="2022-05-13T09:23:52.879" v="1334"/>
          <ac:picMkLst>
            <pc:docMk/>
            <pc:sldMk cId="1793334461" sldId="2147375865"/>
            <ac:picMk id="48" creationId="{77E0B7D3-2BD3-46ED-A9C3-020C66AB779A}"/>
          </ac:picMkLst>
        </pc:picChg>
        <pc:picChg chg="mod topLvl">
          <ac:chgData name="Pirone, Chiara" userId="d9d5b965-323f-43ee-9ca8-6b95d06dc7f9" providerId="ADAL" clId="{EEA06CB2-82F2-4ED8-9229-4AD4686F732E}" dt="2022-05-13T08:18:31.445" v="1031" actId="164"/>
          <ac:picMkLst>
            <pc:docMk/>
            <pc:sldMk cId="1793334461" sldId="2147375865"/>
            <ac:picMk id="49" creationId="{350BA735-72B7-4770-AF84-09C7ED695CCF}"/>
          </ac:picMkLst>
        </pc:picChg>
        <pc:picChg chg="mod topLvl">
          <ac:chgData name="Pirone, Chiara" userId="d9d5b965-323f-43ee-9ca8-6b95d06dc7f9" providerId="ADAL" clId="{EEA06CB2-82F2-4ED8-9229-4AD4686F732E}" dt="2022-05-13T08:18:04.170" v="1025" actId="165"/>
          <ac:picMkLst>
            <pc:docMk/>
            <pc:sldMk cId="1793334461" sldId="2147375865"/>
            <ac:picMk id="50" creationId="{72B26724-6943-40F0-8B9F-DA7D3F7BC8CB}"/>
          </ac:picMkLst>
        </pc:picChg>
        <pc:picChg chg="mod">
          <ac:chgData name="Pirone, Chiara" userId="d9d5b965-323f-43ee-9ca8-6b95d06dc7f9" providerId="ADAL" clId="{EEA06CB2-82F2-4ED8-9229-4AD4686F732E}" dt="2022-05-13T08:18:31.445" v="1031" actId="164"/>
          <ac:picMkLst>
            <pc:docMk/>
            <pc:sldMk cId="1793334461" sldId="2147375865"/>
            <ac:picMk id="51" creationId="{FF91D1A3-39B4-4FF6-8303-9CD01B8FB8B1}"/>
          </ac:picMkLst>
        </pc:picChg>
        <pc:picChg chg="mod topLvl">
          <ac:chgData name="Pirone, Chiara" userId="d9d5b965-323f-43ee-9ca8-6b95d06dc7f9" providerId="ADAL" clId="{EEA06CB2-82F2-4ED8-9229-4AD4686F732E}" dt="2022-05-13T08:18:31.445" v="1031" actId="164"/>
          <ac:picMkLst>
            <pc:docMk/>
            <pc:sldMk cId="1793334461" sldId="2147375865"/>
            <ac:picMk id="52" creationId="{BDF065DC-5D42-4FBC-BB65-2FD0390F3917}"/>
          </ac:picMkLst>
        </pc:picChg>
        <pc:picChg chg="mod topLvl">
          <ac:chgData name="Pirone, Chiara" userId="d9d5b965-323f-43ee-9ca8-6b95d06dc7f9" providerId="ADAL" clId="{EEA06CB2-82F2-4ED8-9229-4AD4686F732E}" dt="2022-05-13T08:18:31.445" v="1031" actId="164"/>
          <ac:picMkLst>
            <pc:docMk/>
            <pc:sldMk cId="1793334461" sldId="2147375865"/>
            <ac:picMk id="53" creationId="{36ED5FFE-5CC5-48F6-8057-37A4B1CCD583}"/>
          </ac:picMkLst>
        </pc:picChg>
        <pc:picChg chg="mod topLvl">
          <ac:chgData name="Pirone, Chiara" userId="d9d5b965-323f-43ee-9ca8-6b95d06dc7f9" providerId="ADAL" clId="{EEA06CB2-82F2-4ED8-9229-4AD4686F732E}" dt="2022-05-13T08:18:31.445" v="1031" actId="164"/>
          <ac:picMkLst>
            <pc:docMk/>
            <pc:sldMk cId="1793334461" sldId="2147375865"/>
            <ac:picMk id="54" creationId="{5CF11B44-4A68-47EF-A9B6-5EC326733715}"/>
          </ac:picMkLst>
        </pc:picChg>
      </pc:sldChg>
      <pc:sldChg chg="addSp delSp modSp add mod ord modShow">
        <pc:chgData name="Pirone, Chiara" userId="d9d5b965-323f-43ee-9ca8-6b95d06dc7f9" providerId="ADAL" clId="{EEA06CB2-82F2-4ED8-9229-4AD4686F732E}" dt="2022-05-17T10:38:50.437" v="6757"/>
        <pc:sldMkLst>
          <pc:docMk/>
          <pc:sldMk cId="3554308475" sldId="2147375866"/>
        </pc:sldMkLst>
        <pc:spChg chg="add mod">
          <ac:chgData name="Pirone, Chiara" userId="d9d5b965-323f-43ee-9ca8-6b95d06dc7f9" providerId="ADAL" clId="{EEA06CB2-82F2-4ED8-9229-4AD4686F732E}" dt="2022-05-17T08:10:02.073" v="5417" actId="14100"/>
          <ac:spMkLst>
            <pc:docMk/>
            <pc:sldMk cId="3554308475" sldId="2147375866"/>
            <ac:spMk id="8" creationId="{90B2DBBC-69F6-4990-9E50-EEA1C752C855}"/>
          </ac:spMkLst>
        </pc:spChg>
        <pc:spChg chg="add mod">
          <ac:chgData name="Pirone, Chiara" userId="d9d5b965-323f-43ee-9ca8-6b95d06dc7f9" providerId="ADAL" clId="{EEA06CB2-82F2-4ED8-9229-4AD4686F732E}" dt="2022-05-17T08:10:29.200" v="5436" actId="404"/>
          <ac:spMkLst>
            <pc:docMk/>
            <pc:sldMk cId="3554308475" sldId="2147375866"/>
            <ac:spMk id="9" creationId="{1A923811-4724-441F-8C0D-CB3DE0DC9F4C}"/>
          </ac:spMkLst>
        </pc:spChg>
        <pc:spChg chg="del mod topLvl">
          <ac:chgData name="Pirone, Chiara" userId="d9d5b965-323f-43ee-9ca8-6b95d06dc7f9" providerId="ADAL" clId="{EEA06CB2-82F2-4ED8-9229-4AD4686F732E}" dt="2022-05-16T15:04:13.122" v="5107" actId="478"/>
          <ac:spMkLst>
            <pc:docMk/>
            <pc:sldMk cId="3554308475" sldId="2147375866"/>
            <ac:spMk id="12" creationId="{37CB19E4-C627-4501-95B5-3B6DDD4932C7}"/>
          </ac:spMkLst>
        </pc:spChg>
        <pc:spChg chg="mod topLvl">
          <ac:chgData name="Pirone, Chiara" userId="d9d5b965-323f-43ee-9ca8-6b95d06dc7f9" providerId="ADAL" clId="{EEA06CB2-82F2-4ED8-9229-4AD4686F732E}" dt="2022-05-16T15:16:55.786" v="5397" actId="1076"/>
          <ac:spMkLst>
            <pc:docMk/>
            <pc:sldMk cId="3554308475" sldId="2147375866"/>
            <ac:spMk id="13" creationId="{2199663F-7FA0-479B-8EFE-68F39ACF8924}"/>
          </ac:spMkLst>
        </pc:spChg>
        <pc:spChg chg="mod">
          <ac:chgData name="Pirone, Chiara" userId="d9d5b965-323f-43ee-9ca8-6b95d06dc7f9" providerId="ADAL" clId="{EEA06CB2-82F2-4ED8-9229-4AD4686F732E}" dt="2022-05-16T15:00:30.096" v="4889" actId="207"/>
          <ac:spMkLst>
            <pc:docMk/>
            <pc:sldMk cId="3554308475" sldId="2147375866"/>
            <ac:spMk id="15" creationId="{8C73CCEF-8F62-4810-BE67-541E4F24C6EA}"/>
          </ac:spMkLst>
        </pc:spChg>
        <pc:spChg chg="mod">
          <ac:chgData name="Pirone, Chiara" userId="d9d5b965-323f-43ee-9ca8-6b95d06dc7f9" providerId="ADAL" clId="{EEA06CB2-82F2-4ED8-9229-4AD4686F732E}" dt="2022-05-16T15:00:42.916" v="4891" actId="207"/>
          <ac:spMkLst>
            <pc:docMk/>
            <pc:sldMk cId="3554308475" sldId="2147375866"/>
            <ac:spMk id="16" creationId="{0F627141-EB9E-4159-AA6B-C4B917AB6A12}"/>
          </ac:spMkLst>
        </pc:spChg>
        <pc:spChg chg="mod">
          <ac:chgData name="Pirone, Chiara" userId="d9d5b965-323f-43ee-9ca8-6b95d06dc7f9" providerId="ADAL" clId="{EEA06CB2-82F2-4ED8-9229-4AD4686F732E}" dt="2022-05-16T14:59:40.471" v="4846" actId="2711"/>
          <ac:spMkLst>
            <pc:docMk/>
            <pc:sldMk cId="3554308475" sldId="2147375866"/>
            <ac:spMk id="20" creationId="{864A07D3-E60A-45EC-AC56-0E2FEA6AE280}"/>
          </ac:spMkLst>
        </pc:spChg>
        <pc:spChg chg="mod">
          <ac:chgData name="Pirone, Chiara" userId="d9d5b965-323f-43ee-9ca8-6b95d06dc7f9" providerId="ADAL" clId="{EEA06CB2-82F2-4ED8-9229-4AD4686F732E}" dt="2022-05-16T14:59:40.471" v="4846" actId="2711"/>
          <ac:spMkLst>
            <pc:docMk/>
            <pc:sldMk cId="3554308475" sldId="2147375866"/>
            <ac:spMk id="21" creationId="{B2FEC390-22FA-4729-8CB4-D4D0CC41DA21}"/>
          </ac:spMkLst>
        </pc:spChg>
        <pc:spChg chg="mod">
          <ac:chgData name="Pirone, Chiara" userId="d9d5b965-323f-43ee-9ca8-6b95d06dc7f9" providerId="ADAL" clId="{EEA06CB2-82F2-4ED8-9229-4AD4686F732E}" dt="2022-05-16T14:59:40.471" v="4846" actId="2711"/>
          <ac:spMkLst>
            <pc:docMk/>
            <pc:sldMk cId="3554308475" sldId="2147375866"/>
            <ac:spMk id="25" creationId="{C2894C00-E940-498B-A6DC-51395974E095}"/>
          </ac:spMkLst>
        </pc:spChg>
        <pc:spChg chg="mod">
          <ac:chgData name="Pirone, Chiara" userId="d9d5b965-323f-43ee-9ca8-6b95d06dc7f9" providerId="ADAL" clId="{EEA06CB2-82F2-4ED8-9229-4AD4686F732E}" dt="2022-05-16T14:59:40.471" v="4846" actId="2711"/>
          <ac:spMkLst>
            <pc:docMk/>
            <pc:sldMk cId="3554308475" sldId="2147375866"/>
            <ac:spMk id="26" creationId="{B9F0A05F-04D3-4860-A260-F1879528CD16}"/>
          </ac:spMkLst>
        </pc:spChg>
        <pc:spChg chg="add del mod ord">
          <ac:chgData name="Pirone, Chiara" userId="d9d5b965-323f-43ee-9ca8-6b95d06dc7f9" providerId="ADAL" clId="{EEA06CB2-82F2-4ED8-9229-4AD4686F732E}" dt="2022-05-17T08:09:49.836" v="5415" actId="478"/>
          <ac:spMkLst>
            <pc:docMk/>
            <pc:sldMk cId="3554308475" sldId="2147375866"/>
            <ac:spMk id="27" creationId="{BD7319DD-57EA-4048-8DD3-A6A25B0BE3AF}"/>
          </ac:spMkLst>
        </pc:spChg>
        <pc:spChg chg="add mod">
          <ac:chgData name="Pirone, Chiara" userId="d9d5b965-323f-43ee-9ca8-6b95d06dc7f9" providerId="ADAL" clId="{EEA06CB2-82F2-4ED8-9229-4AD4686F732E}" dt="2022-05-17T08:10:16.062" v="5427" actId="1036"/>
          <ac:spMkLst>
            <pc:docMk/>
            <pc:sldMk cId="3554308475" sldId="2147375866"/>
            <ac:spMk id="28" creationId="{05666A6B-F395-4026-B279-3D10D0E6A806}"/>
          </ac:spMkLst>
        </pc:spChg>
        <pc:spChg chg="del">
          <ac:chgData name="Pirone, Chiara" userId="d9d5b965-323f-43ee-9ca8-6b95d06dc7f9" providerId="ADAL" clId="{EEA06CB2-82F2-4ED8-9229-4AD4686F732E}" dt="2022-05-13T09:26:31.249" v="1366" actId="478"/>
          <ac:spMkLst>
            <pc:docMk/>
            <pc:sldMk cId="3554308475" sldId="2147375866"/>
            <ac:spMk id="28" creationId="{1AD76C2C-DD78-4FAC-AEAB-4C948BD37A83}"/>
          </ac:spMkLst>
        </pc:spChg>
        <pc:spChg chg="del">
          <ac:chgData name="Pirone, Chiara" userId="d9d5b965-323f-43ee-9ca8-6b95d06dc7f9" providerId="ADAL" clId="{EEA06CB2-82F2-4ED8-9229-4AD4686F732E}" dt="2022-05-13T09:26:31.249" v="1366" actId="478"/>
          <ac:spMkLst>
            <pc:docMk/>
            <pc:sldMk cId="3554308475" sldId="2147375866"/>
            <ac:spMk id="29" creationId="{9749A88B-7DF0-413E-9923-D3F539FF9ACE}"/>
          </ac:spMkLst>
        </pc:spChg>
        <pc:spChg chg="add mod">
          <ac:chgData name="Pirone, Chiara" userId="d9d5b965-323f-43ee-9ca8-6b95d06dc7f9" providerId="ADAL" clId="{EEA06CB2-82F2-4ED8-9229-4AD4686F732E}" dt="2022-05-17T08:10:16.062" v="5427" actId="1036"/>
          <ac:spMkLst>
            <pc:docMk/>
            <pc:sldMk cId="3554308475" sldId="2147375866"/>
            <ac:spMk id="29" creationId="{E1351639-FF38-4DD3-BCC5-D294BD52B7A6}"/>
          </ac:spMkLst>
        </pc:spChg>
        <pc:spChg chg="del">
          <ac:chgData name="Pirone, Chiara" userId="d9d5b965-323f-43ee-9ca8-6b95d06dc7f9" providerId="ADAL" clId="{EEA06CB2-82F2-4ED8-9229-4AD4686F732E}" dt="2022-05-13T09:26:31.249" v="1366" actId="478"/>
          <ac:spMkLst>
            <pc:docMk/>
            <pc:sldMk cId="3554308475" sldId="2147375866"/>
            <ac:spMk id="30" creationId="{9DBBA2A5-C587-4B19-96C2-DF52C5DA90F4}"/>
          </ac:spMkLst>
        </pc:spChg>
        <pc:spChg chg="del">
          <ac:chgData name="Pirone, Chiara" userId="d9d5b965-323f-43ee-9ca8-6b95d06dc7f9" providerId="ADAL" clId="{EEA06CB2-82F2-4ED8-9229-4AD4686F732E}" dt="2022-05-13T09:26:31.249" v="1366" actId="478"/>
          <ac:spMkLst>
            <pc:docMk/>
            <pc:sldMk cId="3554308475" sldId="2147375866"/>
            <ac:spMk id="31" creationId="{C1874D7F-4545-4963-80F1-E79F4D0B712E}"/>
          </ac:spMkLst>
        </pc:spChg>
        <pc:spChg chg="del">
          <ac:chgData name="Pirone, Chiara" userId="d9d5b965-323f-43ee-9ca8-6b95d06dc7f9" providerId="ADAL" clId="{EEA06CB2-82F2-4ED8-9229-4AD4686F732E}" dt="2022-05-13T09:26:31.249" v="1366" actId="478"/>
          <ac:spMkLst>
            <pc:docMk/>
            <pc:sldMk cId="3554308475" sldId="2147375866"/>
            <ac:spMk id="32" creationId="{1E9B4895-ACA7-496C-9EDA-D5C02D19F1FA}"/>
          </ac:spMkLst>
        </pc:spChg>
        <pc:spChg chg="del">
          <ac:chgData name="Pirone, Chiara" userId="d9d5b965-323f-43ee-9ca8-6b95d06dc7f9" providerId="ADAL" clId="{EEA06CB2-82F2-4ED8-9229-4AD4686F732E}" dt="2022-05-13T09:26:31.249" v="1366" actId="478"/>
          <ac:spMkLst>
            <pc:docMk/>
            <pc:sldMk cId="3554308475" sldId="2147375866"/>
            <ac:spMk id="33" creationId="{78D65352-23E4-43A6-97DB-6881A377C0A7}"/>
          </ac:spMkLst>
        </pc:spChg>
        <pc:spChg chg="mod">
          <ac:chgData name="Pirone, Chiara" userId="d9d5b965-323f-43ee-9ca8-6b95d06dc7f9" providerId="ADAL" clId="{EEA06CB2-82F2-4ED8-9229-4AD4686F732E}" dt="2022-05-16T15:05:26.738" v="5172"/>
          <ac:spMkLst>
            <pc:docMk/>
            <pc:sldMk cId="3554308475" sldId="2147375866"/>
            <ac:spMk id="33" creationId="{B0B54C97-0654-47E9-BBBE-735F82095F7C}"/>
          </ac:spMkLst>
        </pc:spChg>
        <pc:spChg chg="add del mod">
          <ac:chgData name="Pirone, Chiara" userId="d9d5b965-323f-43ee-9ca8-6b95d06dc7f9" providerId="ADAL" clId="{EEA06CB2-82F2-4ED8-9229-4AD4686F732E}" dt="2022-05-16T15:02:20.065" v="4918" actId="478"/>
          <ac:spMkLst>
            <pc:docMk/>
            <pc:sldMk cId="3554308475" sldId="2147375866"/>
            <ac:spMk id="34" creationId="{3B7195C3-9552-40C7-BBB5-9B9A9C3E0954}"/>
          </ac:spMkLst>
        </pc:spChg>
        <pc:spChg chg="mod">
          <ac:chgData name="Pirone, Chiara" userId="d9d5b965-323f-43ee-9ca8-6b95d06dc7f9" providerId="ADAL" clId="{EEA06CB2-82F2-4ED8-9229-4AD4686F732E}" dt="2022-05-16T15:05:26.738" v="5172"/>
          <ac:spMkLst>
            <pc:docMk/>
            <pc:sldMk cId="3554308475" sldId="2147375866"/>
            <ac:spMk id="35" creationId="{9F0E3BA1-9281-4532-85F6-6AD0FF6DC218}"/>
          </ac:spMkLst>
        </pc:spChg>
        <pc:spChg chg="del">
          <ac:chgData name="Pirone, Chiara" userId="d9d5b965-323f-43ee-9ca8-6b95d06dc7f9" providerId="ADAL" clId="{EEA06CB2-82F2-4ED8-9229-4AD4686F732E}" dt="2022-05-13T09:26:31.249" v="1366" actId="478"/>
          <ac:spMkLst>
            <pc:docMk/>
            <pc:sldMk cId="3554308475" sldId="2147375866"/>
            <ac:spMk id="42" creationId="{FBEFEACC-CE41-4024-9DF4-050FD5D887EA}"/>
          </ac:spMkLst>
        </pc:spChg>
        <pc:spChg chg="del">
          <ac:chgData name="Pirone, Chiara" userId="d9d5b965-323f-43ee-9ca8-6b95d06dc7f9" providerId="ADAL" clId="{EEA06CB2-82F2-4ED8-9229-4AD4686F732E}" dt="2022-05-13T09:26:31.249" v="1366" actId="478"/>
          <ac:spMkLst>
            <pc:docMk/>
            <pc:sldMk cId="3554308475" sldId="2147375866"/>
            <ac:spMk id="43" creationId="{10F4A610-B698-45EC-8264-BBE7FA4725E5}"/>
          </ac:spMkLst>
        </pc:spChg>
        <pc:spChg chg="del">
          <ac:chgData name="Pirone, Chiara" userId="d9d5b965-323f-43ee-9ca8-6b95d06dc7f9" providerId="ADAL" clId="{EEA06CB2-82F2-4ED8-9229-4AD4686F732E}" dt="2022-05-13T09:26:31.249" v="1366" actId="478"/>
          <ac:spMkLst>
            <pc:docMk/>
            <pc:sldMk cId="3554308475" sldId="2147375866"/>
            <ac:spMk id="44" creationId="{A3A93D49-9F32-445B-AB16-E49B5A3CE118}"/>
          </ac:spMkLst>
        </pc:spChg>
        <pc:spChg chg="del">
          <ac:chgData name="Pirone, Chiara" userId="d9d5b965-323f-43ee-9ca8-6b95d06dc7f9" providerId="ADAL" clId="{EEA06CB2-82F2-4ED8-9229-4AD4686F732E}" dt="2022-05-13T09:26:31.249" v="1366" actId="478"/>
          <ac:spMkLst>
            <pc:docMk/>
            <pc:sldMk cId="3554308475" sldId="2147375866"/>
            <ac:spMk id="45" creationId="{8733367B-0B23-449D-B451-704760530981}"/>
          </ac:spMkLst>
        </pc:spChg>
        <pc:spChg chg="del">
          <ac:chgData name="Pirone, Chiara" userId="d9d5b965-323f-43ee-9ca8-6b95d06dc7f9" providerId="ADAL" clId="{EEA06CB2-82F2-4ED8-9229-4AD4686F732E}" dt="2022-05-13T09:26:31.249" v="1366" actId="478"/>
          <ac:spMkLst>
            <pc:docMk/>
            <pc:sldMk cId="3554308475" sldId="2147375866"/>
            <ac:spMk id="46" creationId="{13588159-4B90-4DD1-B24D-EEEAF01A68C5}"/>
          </ac:spMkLst>
        </pc:spChg>
        <pc:spChg chg="del">
          <ac:chgData name="Pirone, Chiara" userId="d9d5b965-323f-43ee-9ca8-6b95d06dc7f9" providerId="ADAL" clId="{EEA06CB2-82F2-4ED8-9229-4AD4686F732E}" dt="2022-05-13T09:26:31.249" v="1366" actId="478"/>
          <ac:spMkLst>
            <pc:docMk/>
            <pc:sldMk cId="3554308475" sldId="2147375866"/>
            <ac:spMk id="47" creationId="{7933956A-EAA4-4B69-B874-7D9FC0D6C41F}"/>
          </ac:spMkLst>
        </pc:spChg>
        <pc:spChg chg="mod">
          <ac:chgData name="Pirone, Chiara" userId="d9d5b965-323f-43ee-9ca8-6b95d06dc7f9" providerId="ADAL" clId="{EEA06CB2-82F2-4ED8-9229-4AD4686F732E}" dt="2022-05-13T09:26:44.618" v="1394" actId="20577"/>
          <ac:spMkLst>
            <pc:docMk/>
            <pc:sldMk cId="3554308475" sldId="2147375866"/>
            <ac:spMk id="137" creationId="{C0127670-E626-445F-930E-9E44C37BE878}"/>
          </ac:spMkLst>
        </pc:spChg>
        <pc:grpChg chg="add mod">
          <ac:chgData name="Pirone, Chiara" userId="d9d5b965-323f-43ee-9ca8-6b95d06dc7f9" providerId="ADAL" clId="{EEA06CB2-82F2-4ED8-9229-4AD4686F732E}" dt="2022-05-17T08:10:16.062" v="5427" actId="1036"/>
          <ac:grpSpMkLst>
            <pc:docMk/>
            <pc:sldMk cId="3554308475" sldId="2147375866"/>
            <ac:grpSpMk id="2" creationId="{3B6F94AA-A262-4706-A62C-3647EE132A9C}"/>
          </ac:grpSpMkLst>
        </pc:grpChg>
        <pc:grpChg chg="add del mod">
          <ac:chgData name="Pirone, Chiara" userId="d9d5b965-323f-43ee-9ca8-6b95d06dc7f9" providerId="ADAL" clId="{EEA06CB2-82F2-4ED8-9229-4AD4686F732E}" dt="2022-05-17T08:09:35.400" v="5410" actId="478"/>
          <ac:grpSpMkLst>
            <pc:docMk/>
            <pc:sldMk cId="3554308475" sldId="2147375866"/>
            <ac:grpSpMk id="6" creationId="{E3C550A6-FBBC-401C-88F3-4AAA37DB00DE}"/>
          </ac:grpSpMkLst>
        </pc:grpChg>
        <pc:grpChg chg="del">
          <ac:chgData name="Pirone, Chiara" userId="d9d5b965-323f-43ee-9ca8-6b95d06dc7f9" providerId="ADAL" clId="{EEA06CB2-82F2-4ED8-9229-4AD4686F732E}" dt="2022-05-13T09:26:33.290" v="1367" actId="478"/>
          <ac:grpSpMkLst>
            <pc:docMk/>
            <pc:sldMk cId="3554308475" sldId="2147375866"/>
            <ac:grpSpMk id="8" creationId="{D1065E86-3F95-43B0-A533-5F0D840C8F70}"/>
          </ac:grpSpMkLst>
        </pc:grpChg>
        <pc:grpChg chg="add del mod">
          <ac:chgData name="Pirone, Chiara" userId="d9d5b965-323f-43ee-9ca8-6b95d06dc7f9" providerId="ADAL" clId="{EEA06CB2-82F2-4ED8-9229-4AD4686F732E}" dt="2022-05-17T08:09:31.659" v="5408" actId="478"/>
          <ac:grpSpMkLst>
            <pc:docMk/>
            <pc:sldMk cId="3554308475" sldId="2147375866"/>
            <ac:grpSpMk id="11" creationId="{FD840A3A-DB06-40A3-9446-966403F04405}"/>
          </ac:grpSpMkLst>
        </pc:grpChg>
        <pc:grpChg chg="add del mod">
          <ac:chgData name="Pirone, Chiara" userId="d9d5b965-323f-43ee-9ca8-6b95d06dc7f9" providerId="ADAL" clId="{EEA06CB2-82F2-4ED8-9229-4AD4686F732E}" dt="2022-05-17T08:09:52.204" v="5416" actId="478"/>
          <ac:grpSpMkLst>
            <pc:docMk/>
            <pc:sldMk cId="3554308475" sldId="2147375866"/>
            <ac:grpSpMk id="14" creationId="{57778794-0E6F-458A-ABB7-FBED179688A2}"/>
          </ac:grpSpMkLst>
        </pc:grpChg>
        <pc:grpChg chg="add del mod">
          <ac:chgData name="Pirone, Chiara" userId="d9d5b965-323f-43ee-9ca8-6b95d06dc7f9" providerId="ADAL" clId="{EEA06CB2-82F2-4ED8-9229-4AD4686F732E}" dt="2022-05-17T08:09:46.298" v="5414" actId="478"/>
          <ac:grpSpMkLst>
            <pc:docMk/>
            <pc:sldMk cId="3554308475" sldId="2147375866"/>
            <ac:grpSpMk id="17" creationId="{6C68A05C-3B4C-4D31-8EE0-A8DD8AC700CC}"/>
          </ac:grpSpMkLst>
        </pc:grpChg>
        <pc:grpChg chg="del mod topLvl">
          <ac:chgData name="Pirone, Chiara" userId="d9d5b965-323f-43ee-9ca8-6b95d06dc7f9" providerId="ADAL" clId="{EEA06CB2-82F2-4ED8-9229-4AD4686F732E}" dt="2022-05-16T15:05:21.543" v="5171" actId="478"/>
          <ac:grpSpMkLst>
            <pc:docMk/>
            <pc:sldMk cId="3554308475" sldId="2147375866"/>
            <ac:grpSpMk id="18" creationId="{74F85C71-AF25-41C7-818A-F0AD471A831C}"/>
          </ac:grpSpMkLst>
        </pc:grpChg>
        <pc:grpChg chg="add del mod">
          <ac:chgData name="Pirone, Chiara" userId="d9d5b965-323f-43ee-9ca8-6b95d06dc7f9" providerId="ADAL" clId="{EEA06CB2-82F2-4ED8-9229-4AD4686F732E}" dt="2022-05-17T08:09:37.701" v="5411" actId="478"/>
          <ac:grpSpMkLst>
            <pc:docMk/>
            <pc:sldMk cId="3554308475" sldId="2147375866"/>
            <ac:grpSpMk id="22" creationId="{4F67E237-FDBB-4F43-8706-D5C3EF6C046B}"/>
          </ac:grpSpMkLst>
        </pc:grpChg>
        <pc:grpChg chg="mod topLvl">
          <ac:chgData name="Pirone, Chiara" userId="d9d5b965-323f-43ee-9ca8-6b95d06dc7f9" providerId="ADAL" clId="{EEA06CB2-82F2-4ED8-9229-4AD4686F732E}" dt="2022-05-16T15:07:45.081" v="5373" actId="164"/>
          <ac:grpSpMkLst>
            <pc:docMk/>
            <pc:sldMk cId="3554308475" sldId="2147375866"/>
            <ac:grpSpMk id="23" creationId="{7C949388-638A-4488-87FD-B8B13711143D}"/>
          </ac:grpSpMkLst>
        </pc:grpChg>
        <pc:grpChg chg="add del mod">
          <ac:chgData name="Pirone, Chiara" userId="d9d5b965-323f-43ee-9ca8-6b95d06dc7f9" providerId="ADAL" clId="{EEA06CB2-82F2-4ED8-9229-4AD4686F732E}" dt="2022-05-16T15:06:21.129" v="5315" actId="478"/>
          <ac:grpSpMkLst>
            <pc:docMk/>
            <pc:sldMk cId="3554308475" sldId="2147375866"/>
            <ac:grpSpMk id="30" creationId="{39B8D9AB-AEE3-4FE2-A0B3-3BEC835EFA6C}"/>
          </ac:grpSpMkLst>
        </pc:grpChg>
        <pc:grpChg chg="mod topLvl">
          <ac:chgData name="Pirone, Chiara" userId="d9d5b965-323f-43ee-9ca8-6b95d06dc7f9" providerId="ADAL" clId="{EEA06CB2-82F2-4ED8-9229-4AD4686F732E}" dt="2022-05-16T15:06:46.510" v="5346" actId="164"/>
          <ac:grpSpMkLst>
            <pc:docMk/>
            <pc:sldMk cId="3554308475" sldId="2147375866"/>
            <ac:grpSpMk id="31" creationId="{B4C2F31B-B965-4D53-A28B-95F7EA62ECB9}"/>
          </ac:grpSpMkLst>
        </pc:grpChg>
        <pc:picChg chg="add mod">
          <ac:chgData name="Pirone, Chiara" userId="d9d5b965-323f-43ee-9ca8-6b95d06dc7f9" providerId="ADAL" clId="{EEA06CB2-82F2-4ED8-9229-4AD4686F732E}" dt="2022-05-16T15:07:45.081" v="5373" actId="164"/>
          <ac:picMkLst>
            <pc:docMk/>
            <pc:sldMk cId="3554308475" sldId="2147375866"/>
            <ac:picMk id="5" creationId="{C50560AD-15C8-4BFF-8B8D-D58590B9365F}"/>
          </ac:picMkLst>
        </pc:picChg>
        <pc:picChg chg="add mod ord">
          <ac:chgData name="Pirone, Chiara" userId="d9d5b965-323f-43ee-9ca8-6b95d06dc7f9" providerId="ADAL" clId="{EEA06CB2-82F2-4ED8-9229-4AD4686F732E}" dt="2022-05-17T08:10:20.336" v="5434" actId="1035"/>
          <ac:picMkLst>
            <pc:docMk/>
            <pc:sldMk cId="3554308475" sldId="2147375866"/>
            <ac:picMk id="7" creationId="{169F2508-2367-4D88-9622-090A64266512}"/>
          </ac:picMkLst>
        </pc:picChg>
        <pc:picChg chg="add mod">
          <ac:chgData name="Pirone, Chiara" userId="d9d5b965-323f-43ee-9ca8-6b95d06dc7f9" providerId="ADAL" clId="{EEA06CB2-82F2-4ED8-9229-4AD4686F732E}" dt="2022-05-16T14:59:59.448" v="4858" actId="207"/>
          <ac:picMkLst>
            <pc:docMk/>
            <pc:sldMk cId="3554308475" sldId="2147375866"/>
            <ac:picMk id="10" creationId="{D8E3C60F-6FF5-49D2-B724-8B1788B063F0}"/>
          </ac:picMkLst>
        </pc:picChg>
        <pc:picChg chg="del mod topLvl">
          <ac:chgData name="Pirone, Chiara" userId="d9d5b965-323f-43ee-9ca8-6b95d06dc7f9" providerId="ADAL" clId="{EEA06CB2-82F2-4ED8-9229-4AD4686F732E}" dt="2022-05-16T15:01:47.737" v="4915" actId="478"/>
          <ac:picMkLst>
            <pc:docMk/>
            <pc:sldMk cId="3554308475" sldId="2147375866"/>
            <ac:picMk id="19" creationId="{463E901A-7A95-4CD1-ADFE-29A0B79751C5}"/>
          </ac:picMkLst>
        </pc:picChg>
        <pc:picChg chg="del mod topLvl">
          <ac:chgData name="Pirone, Chiara" userId="d9d5b965-323f-43ee-9ca8-6b95d06dc7f9" providerId="ADAL" clId="{EEA06CB2-82F2-4ED8-9229-4AD4686F732E}" dt="2022-05-16T15:06:19.165" v="5314" actId="478"/>
          <ac:picMkLst>
            <pc:docMk/>
            <pc:sldMk cId="3554308475" sldId="2147375866"/>
            <ac:picMk id="24" creationId="{89D5A3D2-579B-4925-8E32-E60D18B14995}"/>
          </ac:picMkLst>
        </pc:picChg>
        <pc:picChg chg="del mod topLvl">
          <ac:chgData name="Pirone, Chiara" userId="d9d5b965-323f-43ee-9ca8-6b95d06dc7f9" providerId="ADAL" clId="{EEA06CB2-82F2-4ED8-9229-4AD4686F732E}" dt="2022-05-16T15:06:21.129" v="5315" actId="478"/>
          <ac:picMkLst>
            <pc:docMk/>
            <pc:sldMk cId="3554308475" sldId="2147375866"/>
            <ac:picMk id="32" creationId="{2FF7BCA1-18C5-4218-B99C-59D31299A3B9}"/>
          </ac:picMkLst>
        </pc:picChg>
        <pc:picChg chg="add mod">
          <ac:chgData name="Pirone, Chiara" userId="d9d5b965-323f-43ee-9ca8-6b95d06dc7f9" providerId="ADAL" clId="{EEA06CB2-82F2-4ED8-9229-4AD4686F732E}" dt="2022-05-16T15:06:46.510" v="5346" actId="164"/>
          <ac:picMkLst>
            <pc:docMk/>
            <pc:sldMk cId="3554308475" sldId="2147375866"/>
            <ac:picMk id="36" creationId="{287C6AE6-1A3C-49C8-AF29-484E8DCAF526}"/>
          </ac:picMkLst>
        </pc:picChg>
        <pc:picChg chg="del">
          <ac:chgData name="Pirone, Chiara" userId="d9d5b965-323f-43ee-9ca8-6b95d06dc7f9" providerId="ADAL" clId="{EEA06CB2-82F2-4ED8-9229-4AD4686F732E}" dt="2022-05-13T09:26:31.249" v="1366" actId="478"/>
          <ac:picMkLst>
            <pc:docMk/>
            <pc:sldMk cId="3554308475" sldId="2147375866"/>
            <ac:picMk id="48" creationId="{77E0B7D3-2BD3-46ED-A9C3-020C66AB779A}"/>
          </ac:picMkLst>
        </pc:picChg>
        <pc:picChg chg="del">
          <ac:chgData name="Pirone, Chiara" userId="d9d5b965-323f-43ee-9ca8-6b95d06dc7f9" providerId="ADAL" clId="{EEA06CB2-82F2-4ED8-9229-4AD4686F732E}" dt="2022-05-13T09:26:34.830" v="1368" actId="478"/>
          <ac:picMkLst>
            <pc:docMk/>
            <pc:sldMk cId="3554308475" sldId="2147375866"/>
            <ac:picMk id="50" creationId="{72B26724-6943-40F0-8B9F-DA7D3F7BC8CB}"/>
          </ac:picMkLst>
        </pc:picChg>
        <pc:picChg chg="del">
          <ac:chgData name="Pirone, Chiara" userId="d9d5b965-323f-43ee-9ca8-6b95d06dc7f9" providerId="ADAL" clId="{EEA06CB2-82F2-4ED8-9229-4AD4686F732E}" dt="2022-05-16T14:49:43.845" v="4766" actId="478"/>
          <ac:picMkLst>
            <pc:docMk/>
            <pc:sldMk cId="3554308475" sldId="2147375866"/>
            <ac:picMk id="136" creationId="{F59F0E29-A8B0-469E-85B4-66652E149CD6}"/>
          </ac:picMkLst>
        </pc:picChg>
      </pc:sldChg>
      <pc:sldChg chg="addSp delSp modSp add del mod">
        <pc:chgData name="Pirone, Chiara" userId="d9d5b965-323f-43ee-9ca8-6b95d06dc7f9" providerId="ADAL" clId="{EEA06CB2-82F2-4ED8-9229-4AD4686F732E}" dt="2022-05-16T13:09:46.806" v="4043" actId="47"/>
        <pc:sldMkLst>
          <pc:docMk/>
          <pc:sldMk cId="2459007742" sldId="2147375867"/>
        </pc:sldMkLst>
        <pc:spChg chg="mod">
          <ac:chgData name="Pirone, Chiara" userId="d9d5b965-323f-43ee-9ca8-6b95d06dc7f9" providerId="ADAL" clId="{EEA06CB2-82F2-4ED8-9229-4AD4686F732E}" dt="2022-05-13T17:37:49.799" v="3321" actId="1076"/>
          <ac:spMkLst>
            <pc:docMk/>
            <pc:sldMk cId="2459007742" sldId="2147375867"/>
            <ac:spMk id="8" creationId="{EA846D85-5841-47C4-B5E1-9DB2675760CA}"/>
          </ac:spMkLst>
        </pc:spChg>
        <pc:spChg chg="mod">
          <ac:chgData name="Pirone, Chiara" userId="d9d5b965-323f-43ee-9ca8-6b95d06dc7f9" providerId="ADAL" clId="{EEA06CB2-82F2-4ED8-9229-4AD4686F732E}" dt="2022-05-13T17:37:49.799" v="3321" actId="1076"/>
          <ac:spMkLst>
            <pc:docMk/>
            <pc:sldMk cId="2459007742" sldId="2147375867"/>
            <ac:spMk id="9" creationId="{7D6BA340-F6F0-4B01-B270-A8705C6A167B}"/>
          </ac:spMkLst>
        </pc:spChg>
        <pc:spChg chg="mod">
          <ac:chgData name="Pirone, Chiara" userId="d9d5b965-323f-43ee-9ca8-6b95d06dc7f9" providerId="ADAL" clId="{EEA06CB2-82F2-4ED8-9229-4AD4686F732E}" dt="2022-05-13T17:37:49.799" v="3321" actId="1076"/>
          <ac:spMkLst>
            <pc:docMk/>
            <pc:sldMk cId="2459007742" sldId="2147375867"/>
            <ac:spMk id="12" creationId="{3B26A731-954C-4641-B851-40897EA76C21}"/>
          </ac:spMkLst>
        </pc:spChg>
        <pc:spChg chg="mod">
          <ac:chgData name="Pirone, Chiara" userId="d9d5b965-323f-43ee-9ca8-6b95d06dc7f9" providerId="ADAL" clId="{EEA06CB2-82F2-4ED8-9229-4AD4686F732E}" dt="2022-05-13T17:37:49.799" v="3321" actId="1076"/>
          <ac:spMkLst>
            <pc:docMk/>
            <pc:sldMk cId="2459007742" sldId="2147375867"/>
            <ac:spMk id="14" creationId="{676EA7DC-3F85-4A93-9394-4CC103310900}"/>
          </ac:spMkLst>
        </pc:spChg>
        <pc:spChg chg="mod">
          <ac:chgData name="Pirone, Chiara" userId="d9d5b965-323f-43ee-9ca8-6b95d06dc7f9" providerId="ADAL" clId="{EEA06CB2-82F2-4ED8-9229-4AD4686F732E}" dt="2022-05-13T17:37:49.799" v="3321" actId="1076"/>
          <ac:spMkLst>
            <pc:docMk/>
            <pc:sldMk cId="2459007742" sldId="2147375867"/>
            <ac:spMk id="17" creationId="{A7B2C818-F9C5-452C-A6E6-B193FFAA84FF}"/>
          </ac:spMkLst>
        </pc:spChg>
        <pc:spChg chg="mod">
          <ac:chgData name="Pirone, Chiara" userId="d9d5b965-323f-43ee-9ca8-6b95d06dc7f9" providerId="ADAL" clId="{EEA06CB2-82F2-4ED8-9229-4AD4686F732E}" dt="2022-05-16T09:56:20.675" v="3479" actId="1036"/>
          <ac:spMkLst>
            <pc:docMk/>
            <pc:sldMk cId="2459007742" sldId="2147375867"/>
            <ac:spMk id="18" creationId="{470FC02C-E08A-4A31-A9F7-AE9B17B8488B}"/>
          </ac:spMkLst>
        </pc:spChg>
        <pc:spChg chg="mod">
          <ac:chgData name="Pirone, Chiara" userId="d9d5b965-323f-43ee-9ca8-6b95d06dc7f9" providerId="ADAL" clId="{EEA06CB2-82F2-4ED8-9229-4AD4686F732E}" dt="2022-05-13T17:38:15.373" v="3331" actId="12788"/>
          <ac:spMkLst>
            <pc:docMk/>
            <pc:sldMk cId="2459007742" sldId="2147375867"/>
            <ac:spMk id="20" creationId="{B5A02EA8-118E-4784-AAFF-594346387830}"/>
          </ac:spMkLst>
        </pc:spChg>
        <pc:spChg chg="mod">
          <ac:chgData name="Pirone, Chiara" userId="d9d5b965-323f-43ee-9ca8-6b95d06dc7f9" providerId="ADAL" clId="{EEA06CB2-82F2-4ED8-9229-4AD4686F732E}" dt="2022-05-13T17:38:15.373" v="3331" actId="12788"/>
          <ac:spMkLst>
            <pc:docMk/>
            <pc:sldMk cId="2459007742" sldId="2147375867"/>
            <ac:spMk id="25" creationId="{73EAC94C-3514-4AB5-9C34-70A01B3102D9}"/>
          </ac:spMkLst>
        </pc:spChg>
        <pc:spChg chg="mod">
          <ac:chgData name="Pirone, Chiara" userId="d9d5b965-323f-43ee-9ca8-6b95d06dc7f9" providerId="ADAL" clId="{EEA06CB2-82F2-4ED8-9229-4AD4686F732E}" dt="2022-05-13T17:38:15.373" v="3331" actId="12788"/>
          <ac:spMkLst>
            <pc:docMk/>
            <pc:sldMk cId="2459007742" sldId="2147375867"/>
            <ac:spMk id="26" creationId="{5D7AE84B-F619-47B5-96CA-041457296C87}"/>
          </ac:spMkLst>
        </pc:spChg>
        <pc:spChg chg="mod">
          <ac:chgData name="Pirone, Chiara" userId="d9d5b965-323f-43ee-9ca8-6b95d06dc7f9" providerId="ADAL" clId="{EEA06CB2-82F2-4ED8-9229-4AD4686F732E}" dt="2022-05-13T17:38:15.373" v="3331" actId="12788"/>
          <ac:spMkLst>
            <pc:docMk/>
            <pc:sldMk cId="2459007742" sldId="2147375867"/>
            <ac:spMk id="27" creationId="{572F51D2-0FE3-41F1-93BE-D17362E2DA56}"/>
          </ac:spMkLst>
        </pc:spChg>
        <pc:spChg chg="mod">
          <ac:chgData name="Pirone, Chiara" userId="d9d5b965-323f-43ee-9ca8-6b95d06dc7f9" providerId="ADAL" clId="{EEA06CB2-82F2-4ED8-9229-4AD4686F732E}" dt="2022-05-13T17:38:15.373" v="3331" actId="12788"/>
          <ac:spMkLst>
            <pc:docMk/>
            <pc:sldMk cId="2459007742" sldId="2147375867"/>
            <ac:spMk id="28" creationId="{DECB59B7-0E74-4DDF-BE48-993A5A2D5F5B}"/>
          </ac:spMkLst>
        </pc:spChg>
        <pc:spChg chg="mod">
          <ac:chgData name="Pirone, Chiara" userId="d9d5b965-323f-43ee-9ca8-6b95d06dc7f9" providerId="ADAL" clId="{EEA06CB2-82F2-4ED8-9229-4AD4686F732E}" dt="2022-05-13T17:38:15.373" v="3331" actId="12788"/>
          <ac:spMkLst>
            <pc:docMk/>
            <pc:sldMk cId="2459007742" sldId="2147375867"/>
            <ac:spMk id="29" creationId="{CABABFB7-1BD4-4DC8-97A1-EEC45AC5C8F5}"/>
          </ac:spMkLst>
        </pc:spChg>
        <pc:spChg chg="mod">
          <ac:chgData name="Pirone, Chiara" userId="d9d5b965-323f-43ee-9ca8-6b95d06dc7f9" providerId="ADAL" clId="{EEA06CB2-82F2-4ED8-9229-4AD4686F732E}" dt="2022-05-13T17:38:15.373" v="3331" actId="12788"/>
          <ac:spMkLst>
            <pc:docMk/>
            <pc:sldMk cId="2459007742" sldId="2147375867"/>
            <ac:spMk id="30" creationId="{C6BC1380-9298-4477-8EC0-9C3CA2CB30A6}"/>
          </ac:spMkLst>
        </pc:spChg>
        <pc:spChg chg="mod">
          <ac:chgData name="Pirone, Chiara" userId="d9d5b965-323f-43ee-9ca8-6b95d06dc7f9" providerId="ADAL" clId="{EEA06CB2-82F2-4ED8-9229-4AD4686F732E}" dt="2022-05-13T17:38:15.373" v="3331" actId="12788"/>
          <ac:spMkLst>
            <pc:docMk/>
            <pc:sldMk cId="2459007742" sldId="2147375867"/>
            <ac:spMk id="31" creationId="{5ECB0715-5DAB-436D-93B6-305A7C104322}"/>
          </ac:spMkLst>
        </pc:spChg>
        <pc:spChg chg="mod">
          <ac:chgData name="Pirone, Chiara" userId="d9d5b965-323f-43ee-9ca8-6b95d06dc7f9" providerId="ADAL" clId="{EEA06CB2-82F2-4ED8-9229-4AD4686F732E}" dt="2022-05-13T17:38:15.373" v="3331" actId="12788"/>
          <ac:spMkLst>
            <pc:docMk/>
            <pc:sldMk cId="2459007742" sldId="2147375867"/>
            <ac:spMk id="32" creationId="{10165B10-C21B-431A-BCEF-74B1E29857C6}"/>
          </ac:spMkLst>
        </pc:spChg>
        <pc:spChg chg="mod">
          <ac:chgData name="Pirone, Chiara" userId="d9d5b965-323f-43ee-9ca8-6b95d06dc7f9" providerId="ADAL" clId="{EEA06CB2-82F2-4ED8-9229-4AD4686F732E}" dt="2022-05-13T17:38:15.373" v="3331" actId="12788"/>
          <ac:spMkLst>
            <pc:docMk/>
            <pc:sldMk cId="2459007742" sldId="2147375867"/>
            <ac:spMk id="33" creationId="{30376537-36BD-415F-AE66-610BF7DB47D1}"/>
          </ac:spMkLst>
        </pc:spChg>
        <pc:spChg chg="mod ord">
          <ac:chgData name="Pirone, Chiara" userId="d9d5b965-323f-43ee-9ca8-6b95d06dc7f9" providerId="ADAL" clId="{EEA06CB2-82F2-4ED8-9229-4AD4686F732E}" dt="2022-05-13T17:38:00.668" v="3324" actId="167"/>
          <ac:spMkLst>
            <pc:docMk/>
            <pc:sldMk cId="2459007742" sldId="2147375867"/>
            <ac:spMk id="135" creationId="{D0E92D22-F886-4F3B-BC90-22ED27E73D53}"/>
          </ac:spMkLst>
        </pc:spChg>
        <pc:spChg chg="mod">
          <ac:chgData name="Pirone, Chiara" userId="d9d5b965-323f-43ee-9ca8-6b95d06dc7f9" providerId="ADAL" clId="{EEA06CB2-82F2-4ED8-9229-4AD4686F732E}" dt="2022-05-13T17:37:32.092" v="3316" actId="207"/>
          <ac:spMkLst>
            <pc:docMk/>
            <pc:sldMk cId="2459007742" sldId="2147375867"/>
            <ac:spMk id="137" creationId="{C0127670-E626-445F-930E-9E44C37BE878}"/>
          </ac:spMkLst>
        </pc:spChg>
        <pc:grpChg chg="add mod">
          <ac:chgData name="Pirone, Chiara" userId="d9d5b965-323f-43ee-9ca8-6b95d06dc7f9" providerId="ADAL" clId="{EEA06CB2-82F2-4ED8-9229-4AD4686F732E}" dt="2022-05-13T17:37:49.799" v="3321" actId="1076"/>
          <ac:grpSpMkLst>
            <pc:docMk/>
            <pc:sldMk cId="2459007742" sldId="2147375867"/>
            <ac:grpSpMk id="6" creationId="{BF32FD60-266D-4C90-9792-FECEE1E39C64}"/>
          </ac:grpSpMkLst>
        </pc:grpChg>
        <pc:grpChg chg="add mod">
          <ac:chgData name="Pirone, Chiara" userId="d9d5b965-323f-43ee-9ca8-6b95d06dc7f9" providerId="ADAL" clId="{EEA06CB2-82F2-4ED8-9229-4AD4686F732E}" dt="2022-05-13T17:37:49.799" v="3321" actId="1076"/>
          <ac:grpSpMkLst>
            <pc:docMk/>
            <pc:sldMk cId="2459007742" sldId="2147375867"/>
            <ac:grpSpMk id="10" creationId="{B91F13C9-017B-426E-8F5C-6CEC016309C8}"/>
          </ac:grpSpMkLst>
        </pc:grpChg>
        <pc:grpChg chg="mod">
          <ac:chgData name="Pirone, Chiara" userId="d9d5b965-323f-43ee-9ca8-6b95d06dc7f9" providerId="ADAL" clId="{EEA06CB2-82F2-4ED8-9229-4AD4686F732E}" dt="2022-05-13T17:37:49.799" v="3321" actId="1076"/>
          <ac:grpSpMkLst>
            <pc:docMk/>
            <pc:sldMk cId="2459007742" sldId="2147375867"/>
            <ac:grpSpMk id="11" creationId="{84699378-FC69-407F-895C-F66163E4EED1}"/>
          </ac:grpSpMkLst>
        </pc:grpChg>
        <pc:grpChg chg="add mod">
          <ac:chgData name="Pirone, Chiara" userId="d9d5b965-323f-43ee-9ca8-6b95d06dc7f9" providerId="ADAL" clId="{EEA06CB2-82F2-4ED8-9229-4AD4686F732E}" dt="2022-05-13T17:37:49.799" v="3321" actId="1076"/>
          <ac:grpSpMkLst>
            <pc:docMk/>
            <pc:sldMk cId="2459007742" sldId="2147375867"/>
            <ac:grpSpMk id="15" creationId="{E7FB1059-DDF8-40E3-9368-FD5F25D2C72D}"/>
          </ac:grpSpMkLst>
        </pc:grpChg>
        <pc:grpChg chg="add mod">
          <ac:chgData name="Pirone, Chiara" userId="d9d5b965-323f-43ee-9ca8-6b95d06dc7f9" providerId="ADAL" clId="{EEA06CB2-82F2-4ED8-9229-4AD4686F732E}" dt="2022-05-13T17:38:15.373" v="3331" actId="12788"/>
          <ac:grpSpMkLst>
            <pc:docMk/>
            <pc:sldMk cId="2459007742" sldId="2147375867"/>
            <ac:grpSpMk id="19" creationId="{F8BBB566-283D-4B3D-A3FE-CAA25BBB35FE}"/>
          </ac:grpSpMkLst>
        </pc:grpChg>
        <pc:grpChg chg="mod">
          <ac:chgData name="Pirone, Chiara" userId="d9d5b965-323f-43ee-9ca8-6b95d06dc7f9" providerId="ADAL" clId="{EEA06CB2-82F2-4ED8-9229-4AD4686F732E}" dt="2022-05-13T17:38:15.373" v="3331" actId="12788"/>
          <ac:grpSpMkLst>
            <pc:docMk/>
            <pc:sldMk cId="2459007742" sldId="2147375867"/>
            <ac:grpSpMk id="21" creationId="{C1366B27-3B02-4ED4-9E3C-70946C51890B}"/>
          </ac:grpSpMkLst>
        </pc:grpChg>
        <pc:grpChg chg="mod">
          <ac:chgData name="Pirone, Chiara" userId="d9d5b965-323f-43ee-9ca8-6b95d06dc7f9" providerId="ADAL" clId="{EEA06CB2-82F2-4ED8-9229-4AD4686F732E}" dt="2022-05-13T17:38:15.373" v="3331" actId="12788"/>
          <ac:grpSpMkLst>
            <pc:docMk/>
            <pc:sldMk cId="2459007742" sldId="2147375867"/>
            <ac:grpSpMk id="22" creationId="{24517B41-D86B-470E-984A-162BD829CE2A}"/>
          </ac:grpSpMkLst>
        </pc:grpChg>
        <pc:grpChg chg="mod">
          <ac:chgData name="Pirone, Chiara" userId="d9d5b965-323f-43ee-9ca8-6b95d06dc7f9" providerId="ADAL" clId="{EEA06CB2-82F2-4ED8-9229-4AD4686F732E}" dt="2022-05-13T17:38:15.373" v="3331" actId="12788"/>
          <ac:grpSpMkLst>
            <pc:docMk/>
            <pc:sldMk cId="2459007742" sldId="2147375867"/>
            <ac:grpSpMk id="23" creationId="{F09C3DC9-37AD-4213-A37A-E851D07B2661}"/>
          </ac:grpSpMkLst>
        </pc:grpChg>
        <pc:grpChg chg="mod">
          <ac:chgData name="Pirone, Chiara" userId="d9d5b965-323f-43ee-9ca8-6b95d06dc7f9" providerId="ADAL" clId="{EEA06CB2-82F2-4ED8-9229-4AD4686F732E}" dt="2022-05-13T17:38:15.373" v="3331" actId="12788"/>
          <ac:grpSpMkLst>
            <pc:docMk/>
            <pc:sldMk cId="2459007742" sldId="2147375867"/>
            <ac:grpSpMk id="24" creationId="{C0759BE5-1C78-4437-978D-B28407B84E7D}"/>
          </ac:grpSpMkLst>
        </pc:grpChg>
        <pc:picChg chg="del mod">
          <ac:chgData name="Pirone, Chiara" userId="d9d5b965-323f-43ee-9ca8-6b95d06dc7f9" providerId="ADAL" clId="{EEA06CB2-82F2-4ED8-9229-4AD4686F732E}" dt="2022-05-13T17:38:21.820" v="3333" actId="478"/>
          <ac:picMkLst>
            <pc:docMk/>
            <pc:sldMk cId="2459007742" sldId="2147375867"/>
            <ac:picMk id="4" creationId="{576709BF-C8D5-4237-9145-9087416F4E79}"/>
          </ac:picMkLst>
        </pc:picChg>
        <pc:picChg chg="mod">
          <ac:chgData name="Pirone, Chiara" userId="d9d5b965-323f-43ee-9ca8-6b95d06dc7f9" providerId="ADAL" clId="{EEA06CB2-82F2-4ED8-9229-4AD4686F732E}" dt="2022-05-13T17:37:49.799" v="3321" actId="1076"/>
          <ac:picMkLst>
            <pc:docMk/>
            <pc:sldMk cId="2459007742" sldId="2147375867"/>
            <ac:picMk id="7" creationId="{4F04CD6B-0720-43DF-8015-4AAA498E1A93}"/>
          </ac:picMkLst>
        </pc:picChg>
        <pc:picChg chg="mod">
          <ac:chgData name="Pirone, Chiara" userId="d9d5b965-323f-43ee-9ca8-6b95d06dc7f9" providerId="ADAL" clId="{EEA06CB2-82F2-4ED8-9229-4AD4686F732E}" dt="2022-05-13T17:37:49.799" v="3321" actId="1076"/>
          <ac:picMkLst>
            <pc:docMk/>
            <pc:sldMk cId="2459007742" sldId="2147375867"/>
            <ac:picMk id="13" creationId="{0F1A4FDD-E3B5-4122-893F-81AA720D69AB}"/>
          </ac:picMkLst>
        </pc:picChg>
        <pc:picChg chg="mod">
          <ac:chgData name="Pirone, Chiara" userId="d9d5b965-323f-43ee-9ca8-6b95d06dc7f9" providerId="ADAL" clId="{EEA06CB2-82F2-4ED8-9229-4AD4686F732E}" dt="2022-05-13T17:37:49.799" v="3321" actId="1076"/>
          <ac:picMkLst>
            <pc:docMk/>
            <pc:sldMk cId="2459007742" sldId="2147375867"/>
            <ac:picMk id="16" creationId="{F0FC644D-1410-469F-BF8D-11C54CDB707A}"/>
          </ac:picMkLst>
        </pc:picChg>
        <pc:picChg chg="add mod">
          <ac:chgData name="Pirone, Chiara" userId="d9d5b965-323f-43ee-9ca8-6b95d06dc7f9" providerId="ADAL" clId="{EEA06CB2-82F2-4ED8-9229-4AD4686F732E}" dt="2022-05-13T17:38:15.373" v="3331" actId="12788"/>
          <ac:picMkLst>
            <pc:docMk/>
            <pc:sldMk cId="2459007742" sldId="2147375867"/>
            <ac:picMk id="34" creationId="{E1BA6F11-CA71-4CEA-9B13-05187E9ACFF4}"/>
          </ac:picMkLst>
        </pc:picChg>
        <pc:picChg chg="del mod">
          <ac:chgData name="Pirone, Chiara" userId="d9d5b965-323f-43ee-9ca8-6b95d06dc7f9" providerId="ADAL" clId="{EEA06CB2-82F2-4ED8-9229-4AD4686F732E}" dt="2022-05-13T17:37:27.045" v="3314" actId="478"/>
          <ac:picMkLst>
            <pc:docMk/>
            <pc:sldMk cId="2459007742" sldId="2147375867"/>
            <ac:picMk id="136" creationId="{F59F0E29-A8B0-469E-85B4-66652E149CD6}"/>
          </ac:picMkLst>
        </pc:picChg>
      </pc:sldChg>
      <pc:sldChg chg="addSp delSp modSp add mod ord">
        <pc:chgData name="Pirone, Chiara" userId="d9d5b965-323f-43ee-9ca8-6b95d06dc7f9" providerId="ADAL" clId="{EEA06CB2-82F2-4ED8-9229-4AD4686F732E}" dt="2022-05-17T16:26:01.886" v="13467" actId="20577"/>
        <pc:sldMkLst>
          <pc:docMk/>
          <pc:sldMk cId="1226009496" sldId="2147375868"/>
        </pc:sldMkLst>
        <pc:spChg chg="add del mod">
          <ac:chgData name="Pirone, Chiara" userId="d9d5b965-323f-43ee-9ca8-6b95d06dc7f9" providerId="ADAL" clId="{EEA06CB2-82F2-4ED8-9229-4AD4686F732E}" dt="2022-05-17T16:13:22.551" v="13301" actId="478"/>
          <ac:spMkLst>
            <pc:docMk/>
            <pc:sldMk cId="1226009496" sldId="2147375868"/>
            <ac:spMk id="2" creationId="{6FF1552D-41DE-4583-8510-A328419E1494}"/>
          </ac:spMkLst>
        </pc:spChg>
        <pc:spChg chg="add mod">
          <ac:chgData name="Pirone, Chiara" userId="d9d5b965-323f-43ee-9ca8-6b95d06dc7f9" providerId="ADAL" clId="{EEA06CB2-82F2-4ED8-9229-4AD4686F732E}" dt="2022-05-17T16:26:01.886" v="13467" actId="20577"/>
          <ac:spMkLst>
            <pc:docMk/>
            <pc:sldMk cId="1226009496" sldId="2147375868"/>
            <ac:spMk id="6" creationId="{90D88CCC-1459-4D9D-AEDB-D6F922B0E8A1}"/>
          </ac:spMkLst>
        </pc:spChg>
        <pc:spChg chg="mod topLvl">
          <ac:chgData name="Pirone, Chiara" userId="d9d5b965-323f-43ee-9ca8-6b95d06dc7f9" providerId="ADAL" clId="{EEA06CB2-82F2-4ED8-9229-4AD4686F732E}" dt="2022-05-17T16:25:08.099" v="13461" actId="164"/>
          <ac:spMkLst>
            <pc:docMk/>
            <pc:sldMk cId="1226009496" sldId="2147375868"/>
            <ac:spMk id="11" creationId="{54286E0E-92F8-4223-8BD5-E02D33878CB9}"/>
          </ac:spMkLst>
        </pc:spChg>
        <pc:spChg chg="mod topLvl">
          <ac:chgData name="Pirone, Chiara" userId="d9d5b965-323f-43ee-9ca8-6b95d06dc7f9" providerId="ADAL" clId="{EEA06CB2-82F2-4ED8-9229-4AD4686F732E}" dt="2022-05-17T16:24:27.893" v="13451" actId="164"/>
          <ac:spMkLst>
            <pc:docMk/>
            <pc:sldMk cId="1226009496" sldId="2147375868"/>
            <ac:spMk id="12" creationId="{D62D018F-D935-4861-A5CE-E77F16091032}"/>
          </ac:spMkLst>
        </pc:spChg>
        <pc:spChg chg="mod topLvl">
          <ac:chgData name="Pirone, Chiara" userId="d9d5b965-323f-43ee-9ca8-6b95d06dc7f9" providerId="ADAL" clId="{EEA06CB2-82F2-4ED8-9229-4AD4686F732E}" dt="2022-05-17T16:24:27.893" v="13451" actId="164"/>
          <ac:spMkLst>
            <pc:docMk/>
            <pc:sldMk cId="1226009496" sldId="2147375868"/>
            <ac:spMk id="13" creationId="{08BC57CA-7E8B-4FE2-BA51-D85C3AC2A560}"/>
          </ac:spMkLst>
        </pc:spChg>
        <pc:spChg chg="mod topLvl">
          <ac:chgData name="Pirone, Chiara" userId="d9d5b965-323f-43ee-9ca8-6b95d06dc7f9" providerId="ADAL" clId="{EEA06CB2-82F2-4ED8-9229-4AD4686F732E}" dt="2022-05-17T16:25:08.099" v="13461" actId="164"/>
          <ac:spMkLst>
            <pc:docMk/>
            <pc:sldMk cId="1226009496" sldId="2147375868"/>
            <ac:spMk id="14" creationId="{121911A3-4E50-4595-B8D7-2000957B6CEF}"/>
          </ac:spMkLst>
        </pc:spChg>
        <pc:spChg chg="mod topLvl">
          <ac:chgData name="Pirone, Chiara" userId="d9d5b965-323f-43ee-9ca8-6b95d06dc7f9" providerId="ADAL" clId="{EEA06CB2-82F2-4ED8-9229-4AD4686F732E}" dt="2022-05-17T16:25:08.099" v="13461" actId="164"/>
          <ac:spMkLst>
            <pc:docMk/>
            <pc:sldMk cId="1226009496" sldId="2147375868"/>
            <ac:spMk id="15" creationId="{D7E4EC28-D068-4BC8-B9D0-25B0F3DEFAD9}"/>
          </ac:spMkLst>
        </pc:spChg>
        <pc:spChg chg="mod topLvl">
          <ac:chgData name="Pirone, Chiara" userId="d9d5b965-323f-43ee-9ca8-6b95d06dc7f9" providerId="ADAL" clId="{EEA06CB2-82F2-4ED8-9229-4AD4686F732E}" dt="2022-05-17T16:25:08.099" v="13461" actId="164"/>
          <ac:spMkLst>
            <pc:docMk/>
            <pc:sldMk cId="1226009496" sldId="2147375868"/>
            <ac:spMk id="16" creationId="{A9402F12-FCBD-4E5E-BDC6-CC80B86B2317}"/>
          </ac:spMkLst>
        </pc:spChg>
        <pc:spChg chg="mod topLvl">
          <ac:chgData name="Pirone, Chiara" userId="d9d5b965-323f-43ee-9ca8-6b95d06dc7f9" providerId="ADAL" clId="{EEA06CB2-82F2-4ED8-9229-4AD4686F732E}" dt="2022-05-17T16:25:08.099" v="13461" actId="164"/>
          <ac:spMkLst>
            <pc:docMk/>
            <pc:sldMk cId="1226009496" sldId="2147375868"/>
            <ac:spMk id="17" creationId="{5A4B8532-420F-48D4-8841-F5CD90FF0764}"/>
          </ac:spMkLst>
        </pc:spChg>
        <pc:spChg chg="mod topLvl">
          <ac:chgData name="Pirone, Chiara" userId="d9d5b965-323f-43ee-9ca8-6b95d06dc7f9" providerId="ADAL" clId="{EEA06CB2-82F2-4ED8-9229-4AD4686F732E}" dt="2022-05-17T16:24:27.893" v="13451" actId="164"/>
          <ac:spMkLst>
            <pc:docMk/>
            <pc:sldMk cId="1226009496" sldId="2147375868"/>
            <ac:spMk id="18" creationId="{E24CEC18-8776-4442-9B09-DDFAA100D5A9}"/>
          </ac:spMkLst>
        </pc:spChg>
        <pc:spChg chg="mod topLvl">
          <ac:chgData name="Pirone, Chiara" userId="d9d5b965-323f-43ee-9ca8-6b95d06dc7f9" providerId="ADAL" clId="{EEA06CB2-82F2-4ED8-9229-4AD4686F732E}" dt="2022-05-17T16:24:27.893" v="13451" actId="164"/>
          <ac:spMkLst>
            <pc:docMk/>
            <pc:sldMk cId="1226009496" sldId="2147375868"/>
            <ac:spMk id="19" creationId="{62281C13-C337-40B5-9B4E-20CF53295EF4}"/>
          </ac:spMkLst>
        </pc:spChg>
        <pc:spChg chg="add mod">
          <ac:chgData name="Pirone, Chiara" userId="d9d5b965-323f-43ee-9ca8-6b95d06dc7f9" providerId="ADAL" clId="{EEA06CB2-82F2-4ED8-9229-4AD4686F732E}" dt="2022-05-17T16:13:37.716" v="13305" actId="20577"/>
          <ac:spMkLst>
            <pc:docMk/>
            <pc:sldMk cId="1226009496" sldId="2147375868"/>
            <ac:spMk id="20" creationId="{93BE4077-D2F8-43D1-A8F6-8297B9CCC591}"/>
          </ac:spMkLst>
        </pc:spChg>
        <pc:spChg chg="add mod">
          <ac:chgData name="Pirone, Chiara" userId="d9d5b965-323f-43ee-9ca8-6b95d06dc7f9" providerId="ADAL" clId="{EEA06CB2-82F2-4ED8-9229-4AD4686F732E}" dt="2022-05-13T15:20:54.771" v="1740" actId="1038"/>
          <ac:spMkLst>
            <pc:docMk/>
            <pc:sldMk cId="1226009496" sldId="2147375868"/>
            <ac:spMk id="21" creationId="{2BC0E49D-9596-45BE-95A7-F738F8F5DD6E}"/>
          </ac:spMkLst>
        </pc:spChg>
        <pc:spChg chg="add mod">
          <ac:chgData name="Pirone, Chiara" userId="d9d5b965-323f-43ee-9ca8-6b95d06dc7f9" providerId="ADAL" clId="{EEA06CB2-82F2-4ED8-9229-4AD4686F732E}" dt="2022-05-17T16:25:08.099" v="13461" actId="164"/>
          <ac:spMkLst>
            <pc:docMk/>
            <pc:sldMk cId="1226009496" sldId="2147375868"/>
            <ac:spMk id="24" creationId="{6FCDBDA0-1BB4-4AF2-9560-F6A7A58D731C}"/>
          </ac:spMkLst>
        </pc:spChg>
        <pc:spChg chg="add mod">
          <ac:chgData name="Pirone, Chiara" userId="d9d5b965-323f-43ee-9ca8-6b95d06dc7f9" providerId="ADAL" clId="{EEA06CB2-82F2-4ED8-9229-4AD4686F732E}" dt="2022-05-17T16:25:48.043" v="13465" actId="20577"/>
          <ac:spMkLst>
            <pc:docMk/>
            <pc:sldMk cId="1226009496" sldId="2147375868"/>
            <ac:spMk id="25" creationId="{3175405E-0FA3-48F5-BC25-BF2FD900D1B6}"/>
          </ac:spMkLst>
        </pc:spChg>
        <pc:spChg chg="add mod">
          <ac:chgData name="Pirone, Chiara" userId="d9d5b965-323f-43ee-9ca8-6b95d06dc7f9" providerId="ADAL" clId="{EEA06CB2-82F2-4ED8-9229-4AD4686F732E}" dt="2022-05-17T16:24:27.893" v="13451" actId="164"/>
          <ac:spMkLst>
            <pc:docMk/>
            <pc:sldMk cId="1226009496" sldId="2147375868"/>
            <ac:spMk id="26" creationId="{7A720F20-64F3-4972-8D9D-90EF979D086A}"/>
          </ac:spMkLst>
        </pc:spChg>
        <pc:spChg chg="add mod">
          <ac:chgData name="Pirone, Chiara" userId="d9d5b965-323f-43ee-9ca8-6b95d06dc7f9" providerId="ADAL" clId="{EEA06CB2-82F2-4ED8-9229-4AD4686F732E}" dt="2022-05-17T16:24:27.893" v="13451" actId="164"/>
          <ac:spMkLst>
            <pc:docMk/>
            <pc:sldMk cId="1226009496" sldId="2147375868"/>
            <ac:spMk id="27" creationId="{E8A6A901-56E6-4CF0-AA49-89ED47BA9095}"/>
          </ac:spMkLst>
        </pc:spChg>
        <pc:spChg chg="mod">
          <ac:chgData name="Pirone, Chiara" userId="d9d5b965-323f-43ee-9ca8-6b95d06dc7f9" providerId="ADAL" clId="{EEA06CB2-82F2-4ED8-9229-4AD4686F732E}" dt="2022-05-13T15:21:01.387" v="1744" actId="1076"/>
          <ac:spMkLst>
            <pc:docMk/>
            <pc:sldMk cId="1226009496" sldId="2147375868"/>
            <ac:spMk id="137" creationId="{C0127670-E626-445F-930E-9E44C37BE878}"/>
          </ac:spMkLst>
        </pc:spChg>
        <pc:grpChg chg="add mod">
          <ac:chgData name="Pirone, Chiara" userId="d9d5b965-323f-43ee-9ca8-6b95d06dc7f9" providerId="ADAL" clId="{EEA06CB2-82F2-4ED8-9229-4AD4686F732E}" dt="2022-05-17T16:25:08.099" v="13461" actId="164"/>
          <ac:grpSpMkLst>
            <pc:docMk/>
            <pc:sldMk cId="1226009496" sldId="2147375868"/>
            <ac:grpSpMk id="3" creationId="{5C7CC384-897F-4F3B-B00B-5B8D93EF6445}"/>
          </ac:grpSpMkLst>
        </pc:grpChg>
        <pc:grpChg chg="add mod">
          <ac:chgData name="Pirone, Chiara" userId="d9d5b965-323f-43ee-9ca8-6b95d06dc7f9" providerId="ADAL" clId="{EEA06CB2-82F2-4ED8-9229-4AD4686F732E}" dt="2022-05-17T16:25:13.136" v="13463" actId="1076"/>
          <ac:grpSpMkLst>
            <pc:docMk/>
            <pc:sldMk cId="1226009496" sldId="2147375868"/>
            <ac:grpSpMk id="5" creationId="{DE9EE42D-7F98-4062-BEDD-6532BA66D822}"/>
          </ac:grpSpMkLst>
        </pc:grpChg>
        <pc:grpChg chg="add del mod">
          <ac:chgData name="Pirone, Chiara" userId="d9d5b965-323f-43ee-9ca8-6b95d06dc7f9" providerId="ADAL" clId="{EEA06CB2-82F2-4ED8-9229-4AD4686F732E}" dt="2022-05-17T16:24:23.059" v="13450" actId="165"/>
          <ac:grpSpMkLst>
            <pc:docMk/>
            <pc:sldMk cId="1226009496" sldId="2147375868"/>
            <ac:grpSpMk id="9" creationId="{B8AC7FA6-E955-410E-B5EA-8095C3705B34}"/>
          </ac:grpSpMkLst>
        </pc:grpChg>
        <pc:graphicFrameChg chg="add mod">
          <ac:chgData name="Pirone, Chiara" userId="d9d5b965-323f-43ee-9ca8-6b95d06dc7f9" providerId="ADAL" clId="{EEA06CB2-82F2-4ED8-9229-4AD4686F732E}" dt="2022-05-17T16:24:07.519" v="13449" actId="14100"/>
          <ac:graphicFrameMkLst>
            <pc:docMk/>
            <pc:sldMk cId="1226009496" sldId="2147375868"/>
            <ac:graphicFrameMk id="8" creationId="{071E3960-2893-4D14-BEDC-FB5C61EF1463}"/>
          </ac:graphicFrameMkLst>
        </pc:graphicFrameChg>
        <pc:graphicFrameChg chg="mod topLvl">
          <ac:chgData name="Pirone, Chiara" userId="d9d5b965-323f-43ee-9ca8-6b95d06dc7f9" providerId="ADAL" clId="{EEA06CB2-82F2-4ED8-9229-4AD4686F732E}" dt="2022-05-17T16:25:08.099" v="13461" actId="164"/>
          <ac:graphicFrameMkLst>
            <pc:docMk/>
            <pc:sldMk cId="1226009496" sldId="2147375868"/>
            <ac:graphicFrameMk id="10" creationId="{97D6FA0B-B866-4D7F-9E76-E17D7FFE949F}"/>
          </ac:graphicFrameMkLst>
        </pc:graphicFrameChg>
        <pc:picChg chg="add mod">
          <ac:chgData name="Pirone, Chiara" userId="d9d5b965-323f-43ee-9ca8-6b95d06dc7f9" providerId="ADAL" clId="{EEA06CB2-82F2-4ED8-9229-4AD4686F732E}" dt="2022-05-13T15:20:11.453" v="1704"/>
          <ac:picMkLst>
            <pc:docMk/>
            <pc:sldMk cId="1226009496" sldId="2147375868"/>
            <ac:picMk id="7" creationId="{79C2E922-22DF-4949-84FD-AF4E0C60A767}"/>
          </ac:picMkLst>
        </pc:picChg>
        <pc:picChg chg="add mod">
          <ac:chgData name="Pirone, Chiara" userId="d9d5b965-323f-43ee-9ca8-6b95d06dc7f9" providerId="ADAL" clId="{EEA06CB2-82F2-4ED8-9229-4AD4686F732E}" dt="2022-05-17T14:39:04.758" v="9765"/>
          <ac:picMkLst>
            <pc:docMk/>
            <pc:sldMk cId="1226009496" sldId="2147375868"/>
            <ac:picMk id="23" creationId="{349A33BA-EE66-4348-8A2C-40959AC39479}"/>
          </ac:picMkLst>
        </pc:picChg>
        <pc:picChg chg="mod">
          <ac:chgData name="Pirone, Chiara" userId="d9d5b965-323f-43ee-9ca8-6b95d06dc7f9" providerId="ADAL" clId="{EEA06CB2-82F2-4ED8-9229-4AD4686F732E}" dt="2022-05-13T15:20:27.018" v="1708" actId="1076"/>
          <ac:picMkLst>
            <pc:docMk/>
            <pc:sldMk cId="1226009496" sldId="2147375868"/>
            <ac:picMk id="136" creationId="{F59F0E29-A8B0-469E-85B4-66652E149CD6}"/>
          </ac:picMkLst>
        </pc:picChg>
      </pc:sldChg>
      <pc:sldChg chg="addSp delSp modSp add mod ord modShow">
        <pc:chgData name="Pirone, Chiara" userId="d9d5b965-323f-43ee-9ca8-6b95d06dc7f9" providerId="ADAL" clId="{EEA06CB2-82F2-4ED8-9229-4AD4686F732E}" dt="2022-05-17T10:38:41.619" v="6754"/>
        <pc:sldMkLst>
          <pc:docMk/>
          <pc:sldMk cId="1034318772" sldId="2147375869"/>
        </pc:sldMkLst>
        <pc:spChg chg="add mod">
          <ac:chgData name="Pirone, Chiara" userId="d9d5b965-323f-43ee-9ca8-6b95d06dc7f9" providerId="ADAL" clId="{EEA06CB2-82F2-4ED8-9229-4AD4686F732E}" dt="2022-05-13T14:19:22.028" v="1554"/>
          <ac:spMkLst>
            <pc:docMk/>
            <pc:sldMk cId="1034318772" sldId="2147375869"/>
            <ac:spMk id="6" creationId="{4B40F135-4025-43E3-839D-627BAE594F87}"/>
          </ac:spMkLst>
        </pc:spChg>
        <pc:spChg chg="add mod">
          <ac:chgData name="Pirone, Chiara" userId="d9d5b965-323f-43ee-9ca8-6b95d06dc7f9" providerId="ADAL" clId="{EEA06CB2-82F2-4ED8-9229-4AD4686F732E}" dt="2022-05-13T15:21:16.740" v="1796" actId="1036"/>
          <ac:spMkLst>
            <pc:docMk/>
            <pc:sldMk cId="1034318772" sldId="2147375869"/>
            <ac:spMk id="7" creationId="{1B9A5560-171D-4A9A-8F07-8EA288E2FB69}"/>
          </ac:spMkLst>
        </pc:spChg>
        <pc:spChg chg="add del mod">
          <ac:chgData name="Pirone, Chiara" userId="d9d5b965-323f-43ee-9ca8-6b95d06dc7f9" providerId="ADAL" clId="{EEA06CB2-82F2-4ED8-9229-4AD4686F732E}" dt="2022-05-13T15:21:06.353" v="1745" actId="478"/>
          <ac:spMkLst>
            <pc:docMk/>
            <pc:sldMk cId="1034318772" sldId="2147375869"/>
            <ac:spMk id="8" creationId="{E836F892-C7F7-4E15-A7A7-9755C74594A2}"/>
          </ac:spMkLst>
        </pc:spChg>
        <pc:spChg chg="add mod">
          <ac:chgData name="Pirone, Chiara" userId="d9d5b965-323f-43ee-9ca8-6b95d06dc7f9" providerId="ADAL" clId="{EEA06CB2-82F2-4ED8-9229-4AD4686F732E}" dt="2022-05-13T14:43:07.271" v="1674" actId="1076"/>
          <ac:spMkLst>
            <pc:docMk/>
            <pc:sldMk cId="1034318772" sldId="2147375869"/>
            <ac:spMk id="12" creationId="{78853D72-D160-4250-AC9B-42AD2E6E318D}"/>
          </ac:spMkLst>
        </pc:spChg>
        <pc:spChg chg="add del mod">
          <ac:chgData name="Pirone, Chiara" userId="d9d5b965-323f-43ee-9ca8-6b95d06dc7f9" providerId="ADAL" clId="{EEA06CB2-82F2-4ED8-9229-4AD4686F732E}" dt="2022-05-13T15:26:39.647" v="1840" actId="478"/>
          <ac:spMkLst>
            <pc:docMk/>
            <pc:sldMk cId="1034318772" sldId="2147375869"/>
            <ac:spMk id="15" creationId="{41312F06-DF61-4C41-82A8-4B794E177200}"/>
          </ac:spMkLst>
        </pc:spChg>
        <pc:spChg chg="add mod">
          <ac:chgData name="Pirone, Chiara" userId="d9d5b965-323f-43ee-9ca8-6b95d06dc7f9" providerId="ADAL" clId="{EEA06CB2-82F2-4ED8-9229-4AD4686F732E}" dt="2022-05-13T15:26:40.219" v="1841"/>
          <ac:spMkLst>
            <pc:docMk/>
            <pc:sldMk cId="1034318772" sldId="2147375869"/>
            <ac:spMk id="16" creationId="{05191D9F-FCA0-49E6-9616-6B71A1600B55}"/>
          </ac:spMkLst>
        </pc:spChg>
        <pc:graphicFrameChg chg="add mod modGraphic">
          <ac:chgData name="Pirone, Chiara" userId="d9d5b965-323f-43ee-9ca8-6b95d06dc7f9" providerId="ADAL" clId="{EEA06CB2-82F2-4ED8-9229-4AD4686F732E}" dt="2022-05-13T14:43:10.439" v="1676" actId="1036"/>
          <ac:graphicFrameMkLst>
            <pc:docMk/>
            <pc:sldMk cId="1034318772" sldId="2147375869"/>
            <ac:graphicFrameMk id="9" creationId="{204074E4-67AC-47DE-9D2D-2664F737F0B1}"/>
          </ac:graphicFrameMkLst>
        </pc:graphicFrameChg>
        <pc:picChg chg="add mod">
          <ac:chgData name="Pirone, Chiara" userId="d9d5b965-323f-43ee-9ca8-6b95d06dc7f9" providerId="ADAL" clId="{EEA06CB2-82F2-4ED8-9229-4AD4686F732E}" dt="2022-05-13T14:42:27.974" v="1671" actId="1035"/>
          <ac:picMkLst>
            <pc:docMk/>
            <pc:sldMk cId="1034318772" sldId="2147375869"/>
            <ac:picMk id="3" creationId="{3C7E9AB5-D12B-49DB-90DF-A265A03BE09B}"/>
          </ac:picMkLst>
        </pc:picChg>
        <pc:picChg chg="add del mod">
          <ac:chgData name="Pirone, Chiara" userId="d9d5b965-323f-43ee-9ca8-6b95d06dc7f9" providerId="ADAL" clId="{EEA06CB2-82F2-4ED8-9229-4AD4686F732E}" dt="2022-05-13T14:42:20.950" v="1653" actId="478"/>
          <ac:picMkLst>
            <pc:docMk/>
            <pc:sldMk cId="1034318772" sldId="2147375869"/>
            <ac:picMk id="10" creationId="{27A94D18-483D-491B-B9FC-0379B685B138}"/>
          </ac:picMkLst>
        </pc:picChg>
        <pc:cxnChg chg="add mod">
          <ac:chgData name="Pirone, Chiara" userId="d9d5b965-323f-43ee-9ca8-6b95d06dc7f9" providerId="ADAL" clId="{EEA06CB2-82F2-4ED8-9229-4AD4686F732E}" dt="2022-05-13T14:23:19.081" v="1568"/>
          <ac:cxnSpMkLst>
            <pc:docMk/>
            <pc:sldMk cId="1034318772" sldId="2147375869"/>
            <ac:cxnSpMk id="11" creationId="{07A44D82-9B3F-432F-A630-F54EC0BF3DFB}"/>
          </ac:cxnSpMkLst>
        </pc:cxnChg>
      </pc:sldChg>
      <pc:sldChg chg="addSp delSp modSp add mod ord modShow">
        <pc:chgData name="Pirone, Chiara" userId="d9d5b965-323f-43ee-9ca8-6b95d06dc7f9" providerId="ADAL" clId="{EEA06CB2-82F2-4ED8-9229-4AD4686F732E}" dt="2022-05-17T10:38:41.619" v="6754"/>
        <pc:sldMkLst>
          <pc:docMk/>
          <pc:sldMk cId="3201226479" sldId="2147375870"/>
        </pc:sldMkLst>
        <pc:spChg chg="add mod">
          <ac:chgData name="Pirone, Chiara" userId="d9d5b965-323f-43ee-9ca8-6b95d06dc7f9" providerId="ADAL" clId="{EEA06CB2-82F2-4ED8-9229-4AD4686F732E}" dt="2022-05-13T15:26:49.929" v="1852" actId="1036"/>
          <ac:spMkLst>
            <pc:docMk/>
            <pc:sldMk cId="3201226479" sldId="2147375870"/>
            <ac:spMk id="6" creationId="{F540DB33-7F4C-4910-9A3D-C41B6FC75153}"/>
          </ac:spMkLst>
        </pc:spChg>
        <pc:spChg chg="add mod">
          <ac:chgData name="Pirone, Chiara" userId="d9d5b965-323f-43ee-9ca8-6b95d06dc7f9" providerId="ADAL" clId="{EEA06CB2-82F2-4ED8-9229-4AD4686F732E}" dt="2022-05-13T14:19:12.022" v="1541" actId="20577"/>
          <ac:spMkLst>
            <pc:docMk/>
            <pc:sldMk cId="3201226479" sldId="2147375870"/>
            <ac:spMk id="7" creationId="{4426FC32-97CB-4BA6-A524-DD20B076E614}"/>
          </ac:spMkLst>
        </pc:spChg>
        <pc:spChg chg="add del mod">
          <ac:chgData name="Pirone, Chiara" userId="d9d5b965-323f-43ee-9ca8-6b95d06dc7f9" providerId="ADAL" clId="{EEA06CB2-82F2-4ED8-9229-4AD4686F732E}" dt="2022-05-13T15:26:45.416" v="1842" actId="478"/>
          <ac:spMkLst>
            <pc:docMk/>
            <pc:sldMk cId="3201226479" sldId="2147375870"/>
            <ac:spMk id="8" creationId="{46E3DFF8-3C67-4376-85E9-26A8C9A2AF3E}"/>
          </ac:spMkLst>
        </pc:spChg>
        <pc:spChg chg="add mod">
          <ac:chgData name="Pirone, Chiara" userId="d9d5b965-323f-43ee-9ca8-6b95d06dc7f9" providerId="ADAL" clId="{EEA06CB2-82F2-4ED8-9229-4AD4686F732E}" dt="2022-05-13T15:26:58.397" v="1872" actId="1037"/>
          <ac:spMkLst>
            <pc:docMk/>
            <pc:sldMk cId="3201226479" sldId="2147375870"/>
            <ac:spMk id="10" creationId="{9DE40AC9-5412-4063-A52C-D7E07C143669}"/>
          </ac:spMkLst>
        </pc:spChg>
        <pc:graphicFrameChg chg="add mod">
          <ac:chgData name="Pirone, Chiara" userId="d9d5b965-323f-43ee-9ca8-6b95d06dc7f9" providerId="ADAL" clId="{EEA06CB2-82F2-4ED8-9229-4AD4686F732E}" dt="2022-05-13T16:14:57.509" v="1875" actId="404"/>
          <ac:graphicFrameMkLst>
            <pc:docMk/>
            <pc:sldMk cId="3201226479" sldId="2147375870"/>
            <ac:graphicFrameMk id="9" creationId="{CD73E60C-3F70-4737-979C-D507CF211A3B}"/>
          </ac:graphicFrameMkLst>
        </pc:graphicFrameChg>
      </pc:sldChg>
      <pc:sldChg chg="modSp add del mod setBg modShow">
        <pc:chgData name="Pirone, Chiara" userId="d9d5b965-323f-43ee-9ca8-6b95d06dc7f9" providerId="ADAL" clId="{EEA06CB2-82F2-4ED8-9229-4AD4686F732E}" dt="2022-05-13T15:27:05.795" v="1873" actId="47"/>
        <pc:sldMkLst>
          <pc:docMk/>
          <pc:sldMk cId="3168451714" sldId="2147375871"/>
        </pc:sldMkLst>
        <pc:spChg chg="mod">
          <ac:chgData name="Pirone, Chiara" userId="d9d5b965-323f-43ee-9ca8-6b95d06dc7f9" providerId="ADAL" clId="{EEA06CB2-82F2-4ED8-9229-4AD4686F732E}" dt="2022-05-13T15:03:29.342" v="1678" actId="20577"/>
          <ac:spMkLst>
            <pc:docMk/>
            <pc:sldMk cId="3168451714" sldId="2147375871"/>
            <ac:spMk id="25" creationId="{8AD6AB3B-530B-4EC1-B097-38C52DC36B42}"/>
          </ac:spMkLst>
        </pc:spChg>
        <pc:spChg chg="mod">
          <ac:chgData name="Pirone, Chiara" userId="d9d5b965-323f-43ee-9ca8-6b95d06dc7f9" providerId="ADAL" clId="{EEA06CB2-82F2-4ED8-9229-4AD4686F732E}" dt="2022-05-13T15:03:37.112" v="1682" actId="20577"/>
          <ac:spMkLst>
            <pc:docMk/>
            <pc:sldMk cId="3168451714" sldId="2147375871"/>
            <ac:spMk id="28" creationId="{AB717B62-56D6-4006-9D3B-8A4109332437}"/>
          </ac:spMkLst>
        </pc:spChg>
        <pc:spChg chg="mod">
          <ac:chgData name="Pirone, Chiara" userId="d9d5b965-323f-43ee-9ca8-6b95d06dc7f9" providerId="ADAL" clId="{EEA06CB2-82F2-4ED8-9229-4AD4686F732E}" dt="2022-05-13T15:03:54.144" v="1694" actId="20577"/>
          <ac:spMkLst>
            <pc:docMk/>
            <pc:sldMk cId="3168451714" sldId="2147375871"/>
            <ac:spMk id="29" creationId="{384AE6A1-9D28-4923-A240-FB7F4698092B}"/>
          </ac:spMkLst>
        </pc:spChg>
        <pc:spChg chg="mod">
          <ac:chgData name="Pirone, Chiara" userId="d9d5b965-323f-43ee-9ca8-6b95d06dc7f9" providerId="ADAL" clId="{EEA06CB2-82F2-4ED8-9229-4AD4686F732E}" dt="2022-05-13T15:03:45.110" v="1686" actId="20577"/>
          <ac:spMkLst>
            <pc:docMk/>
            <pc:sldMk cId="3168451714" sldId="2147375871"/>
            <ac:spMk id="30" creationId="{0B420617-E0E5-4C21-A066-81AFBA9F2CE9}"/>
          </ac:spMkLst>
        </pc:spChg>
        <pc:spChg chg="mod">
          <ac:chgData name="Pirone, Chiara" userId="d9d5b965-323f-43ee-9ca8-6b95d06dc7f9" providerId="ADAL" clId="{EEA06CB2-82F2-4ED8-9229-4AD4686F732E}" dt="2022-05-13T15:05:27.754" v="1703" actId="20577"/>
          <ac:spMkLst>
            <pc:docMk/>
            <pc:sldMk cId="3168451714" sldId="2147375871"/>
            <ac:spMk id="31" creationId="{BF0C99DA-71E7-443A-AD38-EB199DD30B20}"/>
          </ac:spMkLst>
        </pc:spChg>
      </pc:sldChg>
      <pc:sldChg chg="addSp delSp modSp add mod ord modShow modNotesTx">
        <pc:chgData name="Pirone, Chiara" userId="d9d5b965-323f-43ee-9ca8-6b95d06dc7f9" providerId="ADAL" clId="{EEA06CB2-82F2-4ED8-9229-4AD4686F732E}" dt="2022-05-17T11:14:47.976" v="7689"/>
        <pc:sldMkLst>
          <pc:docMk/>
          <pc:sldMk cId="3347875409" sldId="2147375871"/>
        </pc:sldMkLst>
        <pc:spChg chg="add mod ord">
          <ac:chgData name="Pirone, Chiara" userId="d9d5b965-323f-43ee-9ca8-6b95d06dc7f9" providerId="ADAL" clId="{EEA06CB2-82F2-4ED8-9229-4AD4686F732E}" dt="2022-05-16T14:23:53.682" v="4425"/>
          <ac:spMkLst>
            <pc:docMk/>
            <pc:sldMk cId="3347875409" sldId="2147375871"/>
            <ac:spMk id="12" creationId="{9CC8E7D9-07B3-4125-9D9D-1D86F603B000}"/>
          </ac:spMkLst>
        </pc:spChg>
        <pc:spChg chg="add mod ord">
          <ac:chgData name="Pirone, Chiara" userId="d9d5b965-323f-43ee-9ca8-6b95d06dc7f9" providerId="ADAL" clId="{EEA06CB2-82F2-4ED8-9229-4AD4686F732E}" dt="2022-05-16T14:23:53.683" v="4429"/>
          <ac:spMkLst>
            <pc:docMk/>
            <pc:sldMk cId="3347875409" sldId="2147375871"/>
            <ac:spMk id="13" creationId="{01F8068B-FAAA-4252-A908-3A6E122DCBC4}"/>
          </ac:spMkLst>
        </pc:spChg>
        <pc:spChg chg="add del mod ord topLvl">
          <ac:chgData name="Pirone, Chiara" userId="d9d5b965-323f-43ee-9ca8-6b95d06dc7f9" providerId="ADAL" clId="{EEA06CB2-82F2-4ED8-9229-4AD4686F732E}" dt="2022-05-13T16:56:43.678" v="2776" actId="14100"/>
          <ac:spMkLst>
            <pc:docMk/>
            <pc:sldMk cId="3347875409" sldId="2147375871"/>
            <ac:spMk id="14" creationId="{F035B1DD-ABE7-4214-8443-70D6B851B349}"/>
          </ac:spMkLst>
        </pc:spChg>
        <pc:spChg chg="add mod ord">
          <ac:chgData name="Pirone, Chiara" userId="d9d5b965-323f-43ee-9ca8-6b95d06dc7f9" providerId="ADAL" clId="{EEA06CB2-82F2-4ED8-9229-4AD4686F732E}" dt="2022-05-13T17:22:19.573" v="3024" actId="14100"/>
          <ac:spMkLst>
            <pc:docMk/>
            <pc:sldMk cId="3347875409" sldId="2147375871"/>
            <ac:spMk id="15" creationId="{A2069EAC-E80C-4BF9-A538-936C12FD2E4A}"/>
          </ac:spMkLst>
        </pc:spChg>
        <pc:spChg chg="add mod ord">
          <ac:chgData name="Pirone, Chiara" userId="d9d5b965-323f-43ee-9ca8-6b95d06dc7f9" providerId="ADAL" clId="{EEA06CB2-82F2-4ED8-9229-4AD4686F732E}" dt="2022-05-13T17:22:26.078" v="3026" actId="14100"/>
          <ac:spMkLst>
            <pc:docMk/>
            <pc:sldMk cId="3347875409" sldId="2147375871"/>
            <ac:spMk id="16" creationId="{9B5C7521-E196-4770-9096-36F0F4E5A951}"/>
          </ac:spMkLst>
        </pc:spChg>
        <pc:spChg chg="add del mod">
          <ac:chgData name="Pirone, Chiara" userId="d9d5b965-323f-43ee-9ca8-6b95d06dc7f9" providerId="ADAL" clId="{EEA06CB2-82F2-4ED8-9229-4AD4686F732E}" dt="2022-05-13T16:27:16.909" v="2395" actId="21"/>
          <ac:spMkLst>
            <pc:docMk/>
            <pc:sldMk cId="3347875409" sldId="2147375871"/>
            <ac:spMk id="17" creationId="{8123671C-F5B2-4EA4-B394-CB4B2E89D0E5}"/>
          </ac:spMkLst>
        </pc:spChg>
        <pc:spChg chg="add mod">
          <ac:chgData name="Pirone, Chiara" userId="d9d5b965-323f-43ee-9ca8-6b95d06dc7f9" providerId="ADAL" clId="{EEA06CB2-82F2-4ED8-9229-4AD4686F732E}" dt="2022-05-16T14:23:53.682" v="4425"/>
          <ac:spMkLst>
            <pc:docMk/>
            <pc:sldMk cId="3347875409" sldId="2147375871"/>
            <ac:spMk id="18" creationId="{A0F6365D-9631-404F-A36E-99166240C3EB}"/>
          </ac:spMkLst>
        </pc:spChg>
        <pc:spChg chg="add mod">
          <ac:chgData name="Pirone, Chiara" userId="d9d5b965-323f-43ee-9ca8-6b95d06dc7f9" providerId="ADAL" clId="{EEA06CB2-82F2-4ED8-9229-4AD4686F732E}" dt="2022-05-16T14:23:53.683" v="4429"/>
          <ac:spMkLst>
            <pc:docMk/>
            <pc:sldMk cId="3347875409" sldId="2147375871"/>
            <ac:spMk id="19" creationId="{B621DA20-7D55-48C7-A833-5B81495A477D}"/>
          </ac:spMkLst>
        </pc:spChg>
        <pc:spChg chg="add mod">
          <ac:chgData name="Pirone, Chiara" userId="d9d5b965-323f-43ee-9ca8-6b95d06dc7f9" providerId="ADAL" clId="{EEA06CB2-82F2-4ED8-9229-4AD4686F732E}" dt="2022-05-13T16:26:26.390" v="2375" actId="164"/>
          <ac:spMkLst>
            <pc:docMk/>
            <pc:sldMk cId="3347875409" sldId="2147375871"/>
            <ac:spMk id="20" creationId="{2A14AC5A-1E2C-43E3-A0DA-248AA0C24761}"/>
          </ac:spMkLst>
        </pc:spChg>
        <pc:spChg chg="add mod">
          <ac:chgData name="Pirone, Chiara" userId="d9d5b965-323f-43ee-9ca8-6b95d06dc7f9" providerId="ADAL" clId="{EEA06CB2-82F2-4ED8-9229-4AD4686F732E}" dt="2022-05-13T16:26:50.168" v="2385" actId="164"/>
          <ac:spMkLst>
            <pc:docMk/>
            <pc:sldMk cId="3347875409" sldId="2147375871"/>
            <ac:spMk id="21" creationId="{3F29CA62-252A-4610-AA92-5298D0B9EA68}"/>
          </ac:spMkLst>
        </pc:spChg>
        <pc:spChg chg="add mod">
          <ac:chgData name="Pirone, Chiara" userId="d9d5b965-323f-43ee-9ca8-6b95d06dc7f9" providerId="ADAL" clId="{EEA06CB2-82F2-4ED8-9229-4AD4686F732E}" dt="2022-05-13T16:26:19.340" v="2371" actId="164"/>
          <ac:spMkLst>
            <pc:docMk/>
            <pc:sldMk cId="3347875409" sldId="2147375871"/>
            <ac:spMk id="22" creationId="{61C437EB-DE1D-42AA-A3D6-BFF602AD34CE}"/>
          </ac:spMkLst>
        </pc:spChg>
        <pc:spChg chg="mod">
          <ac:chgData name="Pirone, Chiara" userId="d9d5b965-323f-43ee-9ca8-6b95d06dc7f9" providerId="ADAL" clId="{EEA06CB2-82F2-4ED8-9229-4AD4686F732E}" dt="2022-05-13T16:26:19.340" v="2371" actId="164"/>
          <ac:spMkLst>
            <pc:docMk/>
            <pc:sldMk cId="3347875409" sldId="2147375871"/>
            <ac:spMk id="28" creationId="{75740BA6-7A0B-48C9-8AC3-633CC43F2160}"/>
          </ac:spMkLst>
        </pc:spChg>
        <pc:spChg chg="mod">
          <ac:chgData name="Pirone, Chiara" userId="d9d5b965-323f-43ee-9ca8-6b95d06dc7f9" providerId="ADAL" clId="{EEA06CB2-82F2-4ED8-9229-4AD4686F732E}" dt="2022-05-13T16:26:50.168" v="2385" actId="164"/>
          <ac:spMkLst>
            <pc:docMk/>
            <pc:sldMk cId="3347875409" sldId="2147375871"/>
            <ac:spMk id="31" creationId="{0161019C-3ED1-4451-B45A-9648ED7E3A8E}"/>
          </ac:spMkLst>
        </pc:spChg>
        <pc:spChg chg="add mod">
          <ac:chgData name="Pirone, Chiara" userId="d9d5b965-323f-43ee-9ca8-6b95d06dc7f9" providerId="ADAL" clId="{EEA06CB2-82F2-4ED8-9229-4AD4686F732E}" dt="2022-05-17T08:31:21.714" v="5441" actId="255"/>
          <ac:spMkLst>
            <pc:docMk/>
            <pc:sldMk cId="3347875409" sldId="2147375871"/>
            <ac:spMk id="33" creationId="{0A3AD318-30BB-4D70-9648-EDA534513F64}"/>
          </ac:spMkLst>
        </pc:spChg>
        <pc:spChg chg="add mod">
          <ac:chgData name="Pirone, Chiara" userId="d9d5b965-323f-43ee-9ca8-6b95d06dc7f9" providerId="ADAL" clId="{EEA06CB2-82F2-4ED8-9229-4AD4686F732E}" dt="2022-05-16T14:23:59.648" v="4437"/>
          <ac:spMkLst>
            <pc:docMk/>
            <pc:sldMk cId="3347875409" sldId="2147375871"/>
            <ac:spMk id="34" creationId="{C061F7EB-9DCC-4240-8E98-AE16A9DDE95B}"/>
          </ac:spMkLst>
        </pc:spChg>
        <pc:spChg chg="add mod">
          <ac:chgData name="Pirone, Chiara" userId="d9d5b965-323f-43ee-9ca8-6b95d06dc7f9" providerId="ADAL" clId="{EEA06CB2-82F2-4ED8-9229-4AD4686F732E}" dt="2022-05-17T08:31:32.642" v="5442" actId="255"/>
          <ac:spMkLst>
            <pc:docMk/>
            <pc:sldMk cId="3347875409" sldId="2147375871"/>
            <ac:spMk id="35" creationId="{7BA9A580-5503-431C-8E04-272FE140BD68}"/>
          </ac:spMkLst>
        </pc:spChg>
        <pc:spChg chg="add del mod">
          <ac:chgData name="Pirone, Chiara" userId="d9d5b965-323f-43ee-9ca8-6b95d06dc7f9" providerId="ADAL" clId="{EEA06CB2-82F2-4ED8-9229-4AD4686F732E}" dt="2022-05-13T16:29:04.963" v="2478"/>
          <ac:spMkLst>
            <pc:docMk/>
            <pc:sldMk cId="3347875409" sldId="2147375871"/>
            <ac:spMk id="36" creationId="{02E8EBE4-8DA4-4CBD-BAE0-F18DB90A510F}"/>
          </ac:spMkLst>
        </pc:spChg>
        <pc:spChg chg="add del mod">
          <ac:chgData name="Pirone, Chiara" userId="d9d5b965-323f-43ee-9ca8-6b95d06dc7f9" providerId="ADAL" clId="{EEA06CB2-82F2-4ED8-9229-4AD4686F732E}" dt="2022-05-13T16:29:08.130" v="2480" actId="478"/>
          <ac:spMkLst>
            <pc:docMk/>
            <pc:sldMk cId="3347875409" sldId="2147375871"/>
            <ac:spMk id="37" creationId="{6F400D19-11B1-498A-B021-9DC3C949A245}"/>
          </ac:spMkLst>
        </pc:spChg>
        <pc:spChg chg="add mod">
          <ac:chgData name="Pirone, Chiara" userId="d9d5b965-323f-43ee-9ca8-6b95d06dc7f9" providerId="ADAL" clId="{EEA06CB2-82F2-4ED8-9229-4AD4686F732E}" dt="2022-05-16T14:26:22.465" v="4439" actId="1035"/>
          <ac:spMkLst>
            <pc:docMk/>
            <pc:sldMk cId="3347875409" sldId="2147375871"/>
            <ac:spMk id="38" creationId="{8C31B121-C0B0-4561-8D18-75CC229A66AA}"/>
          </ac:spMkLst>
        </pc:spChg>
        <pc:spChg chg="add mod">
          <ac:chgData name="Pirone, Chiara" userId="d9d5b965-323f-43ee-9ca8-6b95d06dc7f9" providerId="ADAL" clId="{EEA06CB2-82F2-4ED8-9229-4AD4686F732E}" dt="2022-05-13T16:55:47.781" v="2771" actId="114"/>
          <ac:spMkLst>
            <pc:docMk/>
            <pc:sldMk cId="3347875409" sldId="2147375871"/>
            <ac:spMk id="39" creationId="{A020C002-0B85-4FB7-8111-9532B7F59FD7}"/>
          </ac:spMkLst>
        </pc:spChg>
        <pc:spChg chg="mod">
          <ac:chgData name="Pirone, Chiara" userId="d9d5b965-323f-43ee-9ca8-6b95d06dc7f9" providerId="ADAL" clId="{EEA06CB2-82F2-4ED8-9229-4AD4686F732E}" dt="2022-05-16T14:23:53.683" v="4429"/>
          <ac:spMkLst>
            <pc:docMk/>
            <pc:sldMk cId="3347875409" sldId="2147375871"/>
            <ac:spMk id="93" creationId="{9013F897-E142-4B04-8EEA-ACC31BFA54D2}"/>
          </ac:spMkLst>
        </pc:spChg>
        <pc:spChg chg="mod">
          <ac:chgData name="Pirone, Chiara" userId="d9d5b965-323f-43ee-9ca8-6b95d06dc7f9" providerId="ADAL" clId="{EEA06CB2-82F2-4ED8-9229-4AD4686F732E}" dt="2022-05-13T16:26:26.390" v="2375" actId="164"/>
          <ac:spMkLst>
            <pc:docMk/>
            <pc:sldMk cId="3347875409" sldId="2147375871"/>
            <ac:spMk id="100" creationId="{C0C4A273-BC7E-4EF7-B6FD-43CF63E27988}"/>
          </ac:spMkLst>
        </pc:spChg>
        <pc:spChg chg="mod">
          <ac:chgData name="Pirone, Chiara" userId="d9d5b965-323f-43ee-9ca8-6b95d06dc7f9" providerId="ADAL" clId="{EEA06CB2-82F2-4ED8-9229-4AD4686F732E}" dt="2022-05-16T14:23:53.682" v="4425"/>
          <ac:spMkLst>
            <pc:docMk/>
            <pc:sldMk cId="3347875409" sldId="2147375871"/>
            <ac:spMk id="148" creationId="{E64A970A-1DF5-4F75-862B-7D9672E915C4}"/>
          </ac:spMkLst>
        </pc:spChg>
        <pc:grpChg chg="add mod">
          <ac:chgData name="Pirone, Chiara" userId="d9d5b965-323f-43ee-9ca8-6b95d06dc7f9" providerId="ADAL" clId="{EEA06CB2-82F2-4ED8-9229-4AD4686F732E}" dt="2022-05-13T16:26:22.249" v="2372" actId="164"/>
          <ac:grpSpMkLst>
            <pc:docMk/>
            <pc:sldMk cId="3347875409" sldId="2147375871"/>
            <ac:grpSpMk id="2" creationId="{8E84C507-3513-4A7F-8264-3536A3F91050}"/>
          </ac:grpSpMkLst>
        </pc:grpChg>
        <pc:grpChg chg="add mod">
          <ac:chgData name="Pirone, Chiara" userId="d9d5b965-323f-43ee-9ca8-6b95d06dc7f9" providerId="ADAL" clId="{EEA06CB2-82F2-4ED8-9229-4AD4686F732E}" dt="2022-05-13T16:56:52.461" v="2785" actId="1035"/>
          <ac:grpSpMkLst>
            <pc:docMk/>
            <pc:sldMk cId="3347875409" sldId="2147375871"/>
            <ac:grpSpMk id="5" creationId="{4BC3A35F-719B-4601-9542-CF854BFD4AF7}"/>
          </ac:grpSpMkLst>
        </pc:grpChg>
        <pc:grpChg chg="add mod topLvl">
          <ac:chgData name="Pirone, Chiara" userId="d9d5b965-323f-43ee-9ca8-6b95d06dc7f9" providerId="ADAL" clId="{EEA06CB2-82F2-4ED8-9229-4AD4686F732E}" dt="2022-05-13T16:29:04.759" v="2477" actId="21"/>
          <ac:grpSpMkLst>
            <pc:docMk/>
            <pc:sldMk cId="3347875409" sldId="2147375871"/>
            <ac:grpSpMk id="6" creationId="{3D437EE2-1EF6-4F33-96D2-781BE6368EC1}"/>
          </ac:grpSpMkLst>
        </pc:grpChg>
        <pc:grpChg chg="add del mod">
          <ac:chgData name="Pirone, Chiara" userId="d9d5b965-323f-43ee-9ca8-6b95d06dc7f9" providerId="ADAL" clId="{EEA06CB2-82F2-4ED8-9229-4AD4686F732E}" dt="2022-05-13T16:29:04.759" v="2477" actId="21"/>
          <ac:grpSpMkLst>
            <pc:docMk/>
            <pc:sldMk cId="3347875409" sldId="2147375871"/>
            <ac:grpSpMk id="7" creationId="{97AE4779-218D-4416-A086-B6B9D1C75DEA}"/>
          </ac:grpSpMkLst>
        </pc:grpChg>
        <pc:grpChg chg="add mod">
          <ac:chgData name="Pirone, Chiara" userId="d9d5b965-323f-43ee-9ca8-6b95d06dc7f9" providerId="ADAL" clId="{EEA06CB2-82F2-4ED8-9229-4AD4686F732E}" dt="2022-05-16T14:23:53.682" v="4425"/>
          <ac:grpSpMkLst>
            <pc:docMk/>
            <pc:sldMk cId="3347875409" sldId="2147375871"/>
            <ac:grpSpMk id="8" creationId="{B134C809-B9AA-41C6-AA0F-4CDCEFA3DB91}"/>
          </ac:grpSpMkLst>
        </pc:grpChg>
        <pc:grpChg chg="add mod">
          <ac:chgData name="Pirone, Chiara" userId="d9d5b965-323f-43ee-9ca8-6b95d06dc7f9" providerId="ADAL" clId="{EEA06CB2-82F2-4ED8-9229-4AD4686F732E}" dt="2022-05-16T14:23:53.682" v="4425"/>
          <ac:grpSpMkLst>
            <pc:docMk/>
            <pc:sldMk cId="3347875409" sldId="2147375871"/>
            <ac:grpSpMk id="9" creationId="{3B9D6B64-0875-47F2-8551-029EE474D9C9}"/>
          </ac:grpSpMkLst>
        </pc:grpChg>
        <pc:grpChg chg="add mod">
          <ac:chgData name="Pirone, Chiara" userId="d9d5b965-323f-43ee-9ca8-6b95d06dc7f9" providerId="ADAL" clId="{EEA06CB2-82F2-4ED8-9229-4AD4686F732E}" dt="2022-05-13T16:26:52.785" v="2386" actId="164"/>
          <ac:grpSpMkLst>
            <pc:docMk/>
            <pc:sldMk cId="3347875409" sldId="2147375871"/>
            <ac:grpSpMk id="10" creationId="{253229CB-9BE2-4C97-A09E-D03458BE38D3}"/>
          </ac:grpSpMkLst>
        </pc:grpChg>
        <pc:grpChg chg="add mod">
          <ac:chgData name="Pirone, Chiara" userId="d9d5b965-323f-43ee-9ca8-6b95d06dc7f9" providerId="ADAL" clId="{EEA06CB2-82F2-4ED8-9229-4AD4686F732E}" dt="2022-05-13T16:56:52.461" v="2785" actId="1035"/>
          <ac:grpSpMkLst>
            <pc:docMk/>
            <pc:sldMk cId="3347875409" sldId="2147375871"/>
            <ac:grpSpMk id="11" creationId="{0959082E-9DBE-4ED4-9F38-0823DC343C94}"/>
          </ac:grpSpMkLst>
        </pc:grpChg>
        <pc:grpChg chg="add mod">
          <ac:chgData name="Pirone, Chiara" userId="d9d5b965-323f-43ee-9ca8-6b95d06dc7f9" providerId="ADAL" clId="{EEA06CB2-82F2-4ED8-9229-4AD4686F732E}" dt="2022-05-16T14:23:53.683" v="4429"/>
          <ac:grpSpMkLst>
            <pc:docMk/>
            <pc:sldMk cId="3347875409" sldId="2147375871"/>
            <ac:grpSpMk id="23" creationId="{0FA41253-7D60-4848-8B05-8C57F3EA254A}"/>
          </ac:grpSpMkLst>
        </pc:grpChg>
        <pc:grpChg chg="add mod">
          <ac:chgData name="Pirone, Chiara" userId="d9d5b965-323f-43ee-9ca8-6b95d06dc7f9" providerId="ADAL" clId="{EEA06CB2-82F2-4ED8-9229-4AD4686F732E}" dt="2022-05-16T14:23:53.683" v="4429"/>
          <ac:grpSpMkLst>
            <pc:docMk/>
            <pc:sldMk cId="3347875409" sldId="2147375871"/>
            <ac:grpSpMk id="24" creationId="{531BF3BF-A5E4-4907-907E-34EC38AD4EB1}"/>
          </ac:grpSpMkLst>
        </pc:grpChg>
        <pc:picChg chg="mod">
          <ac:chgData name="Pirone, Chiara" userId="d9d5b965-323f-43ee-9ca8-6b95d06dc7f9" providerId="ADAL" clId="{EEA06CB2-82F2-4ED8-9229-4AD4686F732E}" dt="2022-05-13T16:27:34.742" v="2400" actId="1076"/>
          <ac:picMkLst>
            <pc:docMk/>
            <pc:sldMk cId="3347875409" sldId="2147375871"/>
            <ac:picMk id="136" creationId="{F59F0E29-A8B0-469E-85B4-66652E149CD6}"/>
          </ac:picMkLst>
        </pc:picChg>
      </pc:sldChg>
      <pc:sldChg chg="delSp modSp add del mod ord modShow">
        <pc:chgData name="Pirone, Chiara" userId="d9d5b965-323f-43ee-9ca8-6b95d06dc7f9" providerId="ADAL" clId="{EEA06CB2-82F2-4ED8-9229-4AD4686F732E}" dt="2022-05-16T15:24:20.133" v="5400" actId="47"/>
        <pc:sldMkLst>
          <pc:docMk/>
          <pc:sldMk cId="1530287048" sldId="2147375879"/>
        </pc:sldMkLst>
        <pc:spChg chg="del">
          <ac:chgData name="Pirone, Chiara" userId="d9d5b965-323f-43ee-9ca8-6b95d06dc7f9" providerId="ADAL" clId="{EEA06CB2-82F2-4ED8-9229-4AD4686F732E}" dt="2022-05-13T17:36:41.923" v="3297" actId="478"/>
          <ac:spMkLst>
            <pc:docMk/>
            <pc:sldMk cId="1530287048" sldId="2147375879"/>
            <ac:spMk id="9" creationId="{C3A97CC2-0CCD-489B-A0A8-84C0E04D5DEB}"/>
          </ac:spMkLst>
        </pc:spChg>
        <pc:spChg chg="del">
          <ac:chgData name="Pirone, Chiara" userId="d9d5b965-323f-43ee-9ca8-6b95d06dc7f9" providerId="ADAL" clId="{EEA06CB2-82F2-4ED8-9229-4AD4686F732E}" dt="2022-05-13T17:36:41.136" v="3296" actId="478"/>
          <ac:spMkLst>
            <pc:docMk/>
            <pc:sldMk cId="1530287048" sldId="2147375879"/>
            <ac:spMk id="10" creationId="{341AD810-4872-4916-8FD4-3FD7F2F60356}"/>
          </ac:spMkLst>
        </pc:spChg>
        <pc:spChg chg="mod">
          <ac:chgData name="Pirone, Chiara" userId="d9d5b965-323f-43ee-9ca8-6b95d06dc7f9" providerId="ADAL" clId="{EEA06CB2-82F2-4ED8-9229-4AD4686F732E}" dt="2022-05-13T17:33:49.897" v="3064" actId="20577"/>
          <ac:spMkLst>
            <pc:docMk/>
            <pc:sldMk cId="1530287048" sldId="2147375879"/>
            <ac:spMk id="24" creationId="{F61E6DA5-B178-4544-ACA7-FCFD2FC3041C}"/>
          </ac:spMkLst>
        </pc:spChg>
        <pc:spChg chg="mod">
          <ac:chgData name="Pirone, Chiara" userId="d9d5b965-323f-43ee-9ca8-6b95d06dc7f9" providerId="ADAL" clId="{EEA06CB2-82F2-4ED8-9229-4AD4686F732E}" dt="2022-05-13T17:34:24.601" v="3200" actId="20577"/>
          <ac:spMkLst>
            <pc:docMk/>
            <pc:sldMk cId="1530287048" sldId="2147375879"/>
            <ac:spMk id="34" creationId="{F1FE3EE8-97A1-4812-9F64-DA6584DED6B7}"/>
          </ac:spMkLst>
        </pc:spChg>
        <pc:spChg chg="mod">
          <ac:chgData name="Pirone, Chiara" userId="d9d5b965-323f-43ee-9ca8-6b95d06dc7f9" providerId="ADAL" clId="{EEA06CB2-82F2-4ED8-9229-4AD4686F732E}" dt="2022-05-13T17:35:36.748" v="3239" actId="20577"/>
          <ac:spMkLst>
            <pc:docMk/>
            <pc:sldMk cId="1530287048" sldId="2147375879"/>
            <ac:spMk id="48" creationId="{C9090084-6D18-4525-84D1-B24306798AD8}"/>
          </ac:spMkLst>
        </pc:spChg>
        <pc:spChg chg="mod">
          <ac:chgData name="Pirone, Chiara" userId="d9d5b965-323f-43ee-9ca8-6b95d06dc7f9" providerId="ADAL" clId="{EEA06CB2-82F2-4ED8-9229-4AD4686F732E}" dt="2022-05-13T17:36:10.424" v="3294" actId="20577"/>
          <ac:spMkLst>
            <pc:docMk/>
            <pc:sldMk cId="1530287048" sldId="2147375879"/>
            <ac:spMk id="62" creationId="{332E9D65-6CD3-4E10-9B08-C66EB52E4764}"/>
          </ac:spMkLst>
        </pc:spChg>
        <pc:spChg chg="mod">
          <ac:chgData name="Pirone, Chiara" userId="d9d5b965-323f-43ee-9ca8-6b95d06dc7f9" providerId="ADAL" clId="{EEA06CB2-82F2-4ED8-9229-4AD4686F732E}" dt="2022-05-13T17:36:03.944" v="3266" actId="20577"/>
          <ac:spMkLst>
            <pc:docMk/>
            <pc:sldMk cId="1530287048" sldId="2147375879"/>
            <ac:spMk id="64" creationId="{63551692-109C-4C96-A8CE-83CBC83C1734}"/>
          </ac:spMkLst>
        </pc:spChg>
        <pc:spChg chg="mod">
          <ac:chgData name="Pirone, Chiara" userId="d9d5b965-323f-43ee-9ca8-6b95d06dc7f9" providerId="ADAL" clId="{EEA06CB2-82F2-4ED8-9229-4AD4686F732E}" dt="2022-05-13T17:36:37.207" v="3295"/>
          <ac:spMkLst>
            <pc:docMk/>
            <pc:sldMk cId="1530287048" sldId="2147375879"/>
            <ac:spMk id="68" creationId="{4AFE5732-3C83-43F2-83F0-766C823A525E}"/>
          </ac:spMkLst>
        </pc:spChg>
        <pc:spChg chg="mod">
          <ac:chgData name="Pirone, Chiara" userId="d9d5b965-323f-43ee-9ca8-6b95d06dc7f9" providerId="ADAL" clId="{EEA06CB2-82F2-4ED8-9229-4AD4686F732E}" dt="2022-05-13T17:36:00.549" v="3255" actId="14100"/>
          <ac:spMkLst>
            <pc:docMk/>
            <pc:sldMk cId="1530287048" sldId="2147375879"/>
            <ac:spMk id="73" creationId="{041DB777-81FB-40F8-94A9-21333304AEB0}"/>
          </ac:spMkLst>
        </pc:spChg>
        <pc:spChg chg="mod">
          <ac:chgData name="Pirone, Chiara" userId="d9d5b965-323f-43ee-9ca8-6b95d06dc7f9" providerId="ADAL" clId="{EEA06CB2-82F2-4ED8-9229-4AD4686F732E}" dt="2022-05-13T17:33:44.971" v="3046" actId="20577"/>
          <ac:spMkLst>
            <pc:docMk/>
            <pc:sldMk cId="1530287048" sldId="2147375879"/>
            <ac:spMk id="155" creationId="{2B249B59-B9B2-4596-9FBD-8C0F8511F72E}"/>
          </ac:spMkLst>
        </pc:spChg>
      </pc:sldChg>
      <pc:sldChg chg="addSp delSp modSp add del mod ord modShow">
        <pc:chgData name="Pirone, Chiara" userId="d9d5b965-323f-43ee-9ca8-6b95d06dc7f9" providerId="ADAL" clId="{EEA06CB2-82F2-4ED8-9229-4AD4686F732E}" dt="2022-05-16T15:24:20.133" v="5400" actId="47"/>
        <pc:sldMkLst>
          <pc:docMk/>
          <pc:sldMk cId="1294980551" sldId="2147375880"/>
        </pc:sldMkLst>
        <pc:spChg chg="add del">
          <ac:chgData name="Pirone, Chiara" userId="d9d5b965-323f-43ee-9ca8-6b95d06dc7f9" providerId="ADAL" clId="{EEA06CB2-82F2-4ED8-9229-4AD4686F732E}" dt="2022-05-16T13:09:29.788" v="4027" actId="478"/>
          <ac:spMkLst>
            <pc:docMk/>
            <pc:sldMk cId="1294980551" sldId="2147375880"/>
            <ac:spMk id="2" creationId="{FBAB25D1-12D9-4592-A012-11AB266DC321}"/>
          </ac:spMkLst>
        </pc:spChg>
        <pc:spChg chg="add mod">
          <ac:chgData name="Pirone, Chiara" userId="d9d5b965-323f-43ee-9ca8-6b95d06dc7f9" providerId="ADAL" clId="{EEA06CB2-82F2-4ED8-9229-4AD4686F732E}" dt="2022-05-16T13:09:35.468" v="4039" actId="20577"/>
          <ac:spMkLst>
            <pc:docMk/>
            <pc:sldMk cId="1294980551" sldId="2147375880"/>
            <ac:spMk id="3" creationId="{89662829-E4D5-4FD3-9F2D-3B767BE11408}"/>
          </ac:spMkLst>
        </pc:spChg>
        <pc:picChg chg="mod">
          <ac:chgData name="Pirone, Chiara" userId="d9d5b965-323f-43ee-9ca8-6b95d06dc7f9" providerId="ADAL" clId="{EEA06CB2-82F2-4ED8-9229-4AD4686F732E}" dt="2022-05-16T13:09:39.158" v="4040" actId="14100"/>
          <ac:picMkLst>
            <pc:docMk/>
            <pc:sldMk cId="1294980551" sldId="2147375880"/>
            <ac:picMk id="34" creationId="{E1BA6F11-CA71-4CEA-9B13-05187E9ACFF4}"/>
          </ac:picMkLst>
        </pc:picChg>
      </pc:sldChg>
      <pc:sldChg chg="addSp delSp modSp add del mod ord modShow">
        <pc:chgData name="Pirone, Chiara" userId="d9d5b965-323f-43ee-9ca8-6b95d06dc7f9" providerId="ADAL" clId="{EEA06CB2-82F2-4ED8-9229-4AD4686F732E}" dt="2022-05-16T15:24:20.133" v="5400" actId="47"/>
        <pc:sldMkLst>
          <pc:docMk/>
          <pc:sldMk cId="880264286" sldId="2147375881"/>
        </pc:sldMkLst>
        <pc:spChg chg="add mod ord">
          <ac:chgData name="Pirone, Chiara" userId="d9d5b965-323f-43ee-9ca8-6b95d06dc7f9" providerId="ADAL" clId="{EEA06CB2-82F2-4ED8-9229-4AD4686F732E}" dt="2022-05-16T13:20:04.183" v="4401"/>
          <ac:spMkLst>
            <pc:docMk/>
            <pc:sldMk cId="880264286" sldId="2147375881"/>
            <ac:spMk id="2" creationId="{DF2DAC4C-CCF7-40EB-ACB8-480A80F09ECD}"/>
          </ac:spMkLst>
        </pc:spChg>
        <pc:spChg chg="add mod ord topLvl">
          <ac:chgData name="Pirone, Chiara" userId="d9d5b965-323f-43ee-9ca8-6b95d06dc7f9" providerId="ADAL" clId="{EEA06CB2-82F2-4ED8-9229-4AD4686F732E}" dt="2022-05-16T13:20:04.183" v="4401"/>
          <ac:spMkLst>
            <pc:docMk/>
            <pc:sldMk cId="880264286" sldId="2147375881"/>
            <ac:spMk id="6" creationId="{0A7C70A7-6F68-4514-BF6D-C619314F0CE5}"/>
          </ac:spMkLst>
        </pc:spChg>
        <pc:spChg chg="mod">
          <ac:chgData name="Pirone, Chiara" userId="d9d5b965-323f-43ee-9ca8-6b95d06dc7f9" providerId="ADAL" clId="{EEA06CB2-82F2-4ED8-9229-4AD4686F732E}" dt="2022-05-16T13:17:27.991" v="4306" actId="1036"/>
          <ac:spMkLst>
            <pc:docMk/>
            <pc:sldMk cId="880264286" sldId="2147375881"/>
            <ac:spMk id="9" creationId="{BCBDBC98-7875-443F-A2F2-0789B0547F72}"/>
          </ac:spMkLst>
        </pc:spChg>
        <pc:spChg chg="mod">
          <ac:chgData name="Pirone, Chiara" userId="d9d5b965-323f-43ee-9ca8-6b95d06dc7f9" providerId="ADAL" clId="{EEA06CB2-82F2-4ED8-9229-4AD4686F732E}" dt="2022-05-16T13:17:27.991" v="4306" actId="1036"/>
          <ac:spMkLst>
            <pc:docMk/>
            <pc:sldMk cId="880264286" sldId="2147375881"/>
            <ac:spMk id="10" creationId="{2C7EBB2A-1270-4D11-AECC-345394D3499A}"/>
          </ac:spMkLst>
        </pc:spChg>
        <pc:spChg chg="mod">
          <ac:chgData name="Pirone, Chiara" userId="d9d5b965-323f-43ee-9ca8-6b95d06dc7f9" providerId="ADAL" clId="{EEA06CB2-82F2-4ED8-9229-4AD4686F732E}" dt="2022-05-16T13:17:27.991" v="4306" actId="1036"/>
          <ac:spMkLst>
            <pc:docMk/>
            <pc:sldMk cId="880264286" sldId="2147375881"/>
            <ac:spMk id="13" creationId="{3A446587-1838-48C4-8411-03CAFF842B99}"/>
          </ac:spMkLst>
        </pc:spChg>
        <pc:spChg chg="mod">
          <ac:chgData name="Pirone, Chiara" userId="d9d5b965-323f-43ee-9ca8-6b95d06dc7f9" providerId="ADAL" clId="{EEA06CB2-82F2-4ED8-9229-4AD4686F732E}" dt="2022-05-16T13:17:27.991" v="4306" actId="1036"/>
          <ac:spMkLst>
            <pc:docMk/>
            <pc:sldMk cId="880264286" sldId="2147375881"/>
            <ac:spMk id="15" creationId="{BD014FFC-5C75-4988-A51D-8F95B0444C08}"/>
          </ac:spMkLst>
        </pc:spChg>
        <pc:spChg chg="mod">
          <ac:chgData name="Pirone, Chiara" userId="d9d5b965-323f-43ee-9ca8-6b95d06dc7f9" providerId="ADAL" clId="{EEA06CB2-82F2-4ED8-9229-4AD4686F732E}" dt="2022-05-16T13:17:27.991" v="4306" actId="1036"/>
          <ac:spMkLst>
            <pc:docMk/>
            <pc:sldMk cId="880264286" sldId="2147375881"/>
            <ac:spMk id="18" creationId="{C609864A-933E-4F42-95C3-88B6545A6A0C}"/>
          </ac:spMkLst>
        </pc:spChg>
        <pc:spChg chg="mod">
          <ac:chgData name="Pirone, Chiara" userId="d9d5b965-323f-43ee-9ca8-6b95d06dc7f9" providerId="ADAL" clId="{EEA06CB2-82F2-4ED8-9229-4AD4686F732E}" dt="2022-05-16T13:17:27.991" v="4306" actId="1036"/>
          <ac:spMkLst>
            <pc:docMk/>
            <pc:sldMk cId="880264286" sldId="2147375881"/>
            <ac:spMk id="19" creationId="{F3AEB9A5-0829-4FFC-9E53-717478281FD2}"/>
          </ac:spMkLst>
        </pc:spChg>
        <pc:spChg chg="add mod">
          <ac:chgData name="Pirone, Chiara" userId="d9d5b965-323f-43ee-9ca8-6b95d06dc7f9" providerId="ADAL" clId="{EEA06CB2-82F2-4ED8-9229-4AD4686F732E}" dt="2022-05-16T13:20:04.183" v="4401"/>
          <ac:spMkLst>
            <pc:docMk/>
            <pc:sldMk cId="880264286" sldId="2147375881"/>
            <ac:spMk id="21" creationId="{8E73424B-5046-48C9-AA1C-442D83A55414}"/>
          </ac:spMkLst>
        </pc:spChg>
        <pc:spChg chg="mod">
          <ac:chgData name="Pirone, Chiara" userId="d9d5b965-323f-43ee-9ca8-6b95d06dc7f9" providerId="ADAL" clId="{EEA06CB2-82F2-4ED8-9229-4AD4686F732E}" dt="2022-05-16T13:17:16.551" v="4296" actId="1076"/>
          <ac:spMkLst>
            <pc:docMk/>
            <pc:sldMk cId="880264286" sldId="2147375881"/>
            <ac:spMk id="30" creationId="{7C35B926-EBC8-4126-A958-2B794DE2AFEF}"/>
          </ac:spMkLst>
        </pc:spChg>
        <pc:spChg chg="mod">
          <ac:chgData name="Pirone, Chiara" userId="d9d5b965-323f-43ee-9ca8-6b95d06dc7f9" providerId="ADAL" clId="{EEA06CB2-82F2-4ED8-9229-4AD4686F732E}" dt="2022-05-16T13:17:16.551" v="4296" actId="1076"/>
          <ac:spMkLst>
            <pc:docMk/>
            <pc:sldMk cId="880264286" sldId="2147375881"/>
            <ac:spMk id="31" creationId="{15848ED6-D2F4-4329-9E91-B7C59013076E}"/>
          </ac:spMkLst>
        </pc:spChg>
        <pc:spChg chg="mod">
          <ac:chgData name="Pirone, Chiara" userId="d9d5b965-323f-43ee-9ca8-6b95d06dc7f9" providerId="ADAL" clId="{EEA06CB2-82F2-4ED8-9229-4AD4686F732E}" dt="2022-05-16T13:17:16.551" v="4296" actId="1076"/>
          <ac:spMkLst>
            <pc:docMk/>
            <pc:sldMk cId="880264286" sldId="2147375881"/>
            <ac:spMk id="33" creationId="{81F53626-2B7A-4529-A2A6-252C9C24DAB1}"/>
          </ac:spMkLst>
        </pc:spChg>
        <pc:spChg chg="del">
          <ac:chgData name="Pirone, Chiara" userId="d9d5b965-323f-43ee-9ca8-6b95d06dc7f9" providerId="ADAL" clId="{EEA06CB2-82F2-4ED8-9229-4AD4686F732E}" dt="2022-05-16T10:07:47.975" v="3482" actId="478"/>
          <ac:spMkLst>
            <pc:docMk/>
            <pc:sldMk cId="880264286" sldId="2147375881"/>
            <ac:spMk id="34" creationId="{3B7195C3-9552-40C7-BBB5-9B9A9C3E0954}"/>
          </ac:spMkLst>
        </pc:spChg>
        <pc:spChg chg="mod">
          <ac:chgData name="Pirone, Chiara" userId="d9d5b965-323f-43ee-9ca8-6b95d06dc7f9" providerId="ADAL" clId="{EEA06CB2-82F2-4ED8-9229-4AD4686F732E}" dt="2022-05-16T13:17:16.551" v="4296" actId="1076"/>
          <ac:spMkLst>
            <pc:docMk/>
            <pc:sldMk cId="880264286" sldId="2147375881"/>
            <ac:spMk id="37" creationId="{8F6F954C-86D0-410D-A717-F6617AC27AA0}"/>
          </ac:spMkLst>
        </pc:spChg>
        <pc:spChg chg="mod">
          <ac:chgData name="Pirone, Chiara" userId="d9d5b965-323f-43ee-9ca8-6b95d06dc7f9" providerId="ADAL" clId="{EEA06CB2-82F2-4ED8-9229-4AD4686F732E}" dt="2022-05-16T13:17:16.551" v="4296" actId="1076"/>
          <ac:spMkLst>
            <pc:docMk/>
            <pc:sldMk cId="880264286" sldId="2147375881"/>
            <ac:spMk id="38" creationId="{4E3F2113-9FF7-44DD-AAF0-8627D23B964C}"/>
          </ac:spMkLst>
        </pc:spChg>
        <pc:spChg chg="mod">
          <ac:chgData name="Pirone, Chiara" userId="d9d5b965-323f-43ee-9ca8-6b95d06dc7f9" providerId="ADAL" clId="{EEA06CB2-82F2-4ED8-9229-4AD4686F732E}" dt="2022-05-16T13:17:16.551" v="4296" actId="1076"/>
          <ac:spMkLst>
            <pc:docMk/>
            <pc:sldMk cId="880264286" sldId="2147375881"/>
            <ac:spMk id="39" creationId="{0ED76131-9E50-451B-9A06-54147A3DB2A6}"/>
          </ac:spMkLst>
        </pc:spChg>
        <pc:spChg chg="mod">
          <ac:chgData name="Pirone, Chiara" userId="d9d5b965-323f-43ee-9ca8-6b95d06dc7f9" providerId="ADAL" clId="{EEA06CB2-82F2-4ED8-9229-4AD4686F732E}" dt="2022-05-16T13:20:04.187" v="4405"/>
          <ac:spMkLst>
            <pc:docMk/>
            <pc:sldMk cId="880264286" sldId="2147375881"/>
            <ac:spMk id="41" creationId="{ED5CE07E-5101-4189-B585-F3FD4A4E9FE4}"/>
          </ac:spMkLst>
        </pc:spChg>
        <pc:spChg chg="mod">
          <ac:chgData name="Pirone, Chiara" userId="d9d5b965-323f-43ee-9ca8-6b95d06dc7f9" providerId="ADAL" clId="{EEA06CB2-82F2-4ED8-9229-4AD4686F732E}" dt="2022-05-16T13:20:04.187" v="4405"/>
          <ac:spMkLst>
            <pc:docMk/>
            <pc:sldMk cId="880264286" sldId="2147375881"/>
            <ac:spMk id="42" creationId="{942BC3BA-8931-4723-B441-DD09CBDFB9BA}"/>
          </ac:spMkLst>
        </pc:spChg>
        <pc:spChg chg="mod">
          <ac:chgData name="Pirone, Chiara" userId="d9d5b965-323f-43ee-9ca8-6b95d06dc7f9" providerId="ADAL" clId="{EEA06CB2-82F2-4ED8-9229-4AD4686F732E}" dt="2022-05-16T13:20:04.187" v="4405"/>
          <ac:spMkLst>
            <pc:docMk/>
            <pc:sldMk cId="880264286" sldId="2147375881"/>
            <ac:spMk id="43" creationId="{D71FB35A-F893-4736-A2D7-07B7760C57E8}"/>
          </ac:spMkLst>
        </pc:spChg>
        <pc:spChg chg="add mod ord">
          <ac:chgData name="Pirone, Chiara" userId="d9d5b965-323f-43ee-9ca8-6b95d06dc7f9" providerId="ADAL" clId="{EEA06CB2-82F2-4ED8-9229-4AD4686F732E}" dt="2022-05-16T13:17:27.991" v="4306" actId="1036"/>
          <ac:spMkLst>
            <pc:docMk/>
            <pc:sldMk cId="880264286" sldId="2147375881"/>
            <ac:spMk id="49" creationId="{66304315-4A66-42DE-908B-D89341AF04E5}"/>
          </ac:spMkLst>
        </pc:spChg>
        <pc:spChg chg="add mod">
          <ac:chgData name="Pirone, Chiara" userId="d9d5b965-323f-43ee-9ca8-6b95d06dc7f9" providerId="ADAL" clId="{EEA06CB2-82F2-4ED8-9229-4AD4686F732E}" dt="2022-05-16T13:17:53.050" v="4313" actId="20577"/>
          <ac:spMkLst>
            <pc:docMk/>
            <pc:sldMk cId="880264286" sldId="2147375881"/>
            <ac:spMk id="53" creationId="{A3802977-988C-43B1-8117-1168AEED6218}"/>
          </ac:spMkLst>
        </pc:spChg>
        <pc:spChg chg="mod">
          <ac:chgData name="Pirone, Chiara" userId="d9d5b965-323f-43ee-9ca8-6b95d06dc7f9" providerId="ADAL" clId="{EEA06CB2-82F2-4ED8-9229-4AD4686F732E}" dt="2022-05-16T10:07:55.332" v="3499" actId="20577"/>
          <ac:spMkLst>
            <pc:docMk/>
            <pc:sldMk cId="880264286" sldId="2147375881"/>
            <ac:spMk id="137" creationId="{C0127670-E626-445F-930E-9E44C37BE878}"/>
          </ac:spMkLst>
        </pc:spChg>
        <pc:grpChg chg="add mod">
          <ac:chgData name="Pirone, Chiara" userId="d9d5b965-323f-43ee-9ca8-6b95d06dc7f9" providerId="ADAL" clId="{EEA06CB2-82F2-4ED8-9229-4AD4686F732E}" dt="2022-05-16T13:17:27.991" v="4306" actId="1036"/>
          <ac:grpSpMkLst>
            <pc:docMk/>
            <pc:sldMk cId="880264286" sldId="2147375881"/>
            <ac:grpSpMk id="7" creationId="{1FE1F62E-DC66-4BEE-A476-3A150AE34096}"/>
          </ac:grpSpMkLst>
        </pc:grpChg>
        <pc:grpChg chg="add mod">
          <ac:chgData name="Pirone, Chiara" userId="d9d5b965-323f-43ee-9ca8-6b95d06dc7f9" providerId="ADAL" clId="{EEA06CB2-82F2-4ED8-9229-4AD4686F732E}" dt="2022-05-16T13:17:27.991" v="4306" actId="1036"/>
          <ac:grpSpMkLst>
            <pc:docMk/>
            <pc:sldMk cId="880264286" sldId="2147375881"/>
            <ac:grpSpMk id="11" creationId="{8F023A5A-81F5-47C3-BDC0-BF404481DDF4}"/>
          </ac:grpSpMkLst>
        </pc:grpChg>
        <pc:grpChg chg="mod">
          <ac:chgData name="Pirone, Chiara" userId="d9d5b965-323f-43ee-9ca8-6b95d06dc7f9" providerId="ADAL" clId="{EEA06CB2-82F2-4ED8-9229-4AD4686F732E}" dt="2022-05-16T13:17:27.991" v="4306" actId="1036"/>
          <ac:grpSpMkLst>
            <pc:docMk/>
            <pc:sldMk cId="880264286" sldId="2147375881"/>
            <ac:grpSpMk id="12" creationId="{58FD32D2-1344-42F1-92A9-2CD2704D5CFC}"/>
          </ac:grpSpMkLst>
        </pc:grpChg>
        <pc:grpChg chg="add mod">
          <ac:chgData name="Pirone, Chiara" userId="d9d5b965-323f-43ee-9ca8-6b95d06dc7f9" providerId="ADAL" clId="{EEA06CB2-82F2-4ED8-9229-4AD4686F732E}" dt="2022-05-16T13:17:27.991" v="4306" actId="1036"/>
          <ac:grpSpMkLst>
            <pc:docMk/>
            <pc:sldMk cId="880264286" sldId="2147375881"/>
            <ac:grpSpMk id="16" creationId="{E02574D7-1A67-4CF4-A0B5-35AA69914A56}"/>
          </ac:grpSpMkLst>
        </pc:grpChg>
        <pc:grpChg chg="add del mod">
          <ac:chgData name="Pirone, Chiara" userId="d9d5b965-323f-43ee-9ca8-6b95d06dc7f9" providerId="ADAL" clId="{EEA06CB2-82F2-4ED8-9229-4AD4686F732E}" dt="2022-05-16T11:14:20.064" v="3816" actId="165"/>
          <ac:grpSpMkLst>
            <pc:docMk/>
            <pc:sldMk cId="880264286" sldId="2147375881"/>
            <ac:grpSpMk id="20" creationId="{D1FBD7B1-00C5-446B-B42C-710992BDE894}"/>
          </ac:grpSpMkLst>
        </pc:grpChg>
        <pc:grpChg chg="add mod">
          <ac:chgData name="Pirone, Chiara" userId="d9d5b965-323f-43ee-9ca8-6b95d06dc7f9" providerId="ADAL" clId="{EEA06CB2-82F2-4ED8-9229-4AD4686F732E}" dt="2022-05-16T13:20:04.183" v="4401"/>
          <ac:grpSpMkLst>
            <pc:docMk/>
            <pc:sldMk cId="880264286" sldId="2147375881"/>
            <ac:grpSpMk id="22" creationId="{DB92ECD7-069B-48DA-B4D7-BABA4CF7F976}"/>
          </ac:grpSpMkLst>
        </pc:grpChg>
        <pc:grpChg chg="add mod">
          <ac:chgData name="Pirone, Chiara" userId="d9d5b965-323f-43ee-9ca8-6b95d06dc7f9" providerId="ADAL" clId="{EEA06CB2-82F2-4ED8-9229-4AD4686F732E}" dt="2022-05-16T13:20:04.183" v="4401"/>
          <ac:grpSpMkLst>
            <pc:docMk/>
            <pc:sldMk cId="880264286" sldId="2147375881"/>
            <ac:grpSpMk id="23" creationId="{9F6A0815-95F7-47D5-8A65-9844CB098838}"/>
          </ac:grpSpMkLst>
        </pc:grpChg>
        <pc:grpChg chg="add mod">
          <ac:chgData name="Pirone, Chiara" userId="d9d5b965-323f-43ee-9ca8-6b95d06dc7f9" providerId="ADAL" clId="{EEA06CB2-82F2-4ED8-9229-4AD4686F732E}" dt="2022-05-16T13:17:16.551" v="4296" actId="1076"/>
          <ac:grpSpMkLst>
            <pc:docMk/>
            <pc:sldMk cId="880264286" sldId="2147375881"/>
            <ac:grpSpMk id="29" creationId="{58B56C30-C44B-4F15-A4FE-41BAE2728BE0}"/>
          </ac:grpSpMkLst>
        </pc:grpChg>
        <pc:grpChg chg="del mod">
          <ac:chgData name="Pirone, Chiara" userId="d9d5b965-323f-43ee-9ca8-6b95d06dc7f9" providerId="ADAL" clId="{EEA06CB2-82F2-4ED8-9229-4AD4686F732E}" dt="2022-05-16T11:45:31.364" v="3884" actId="478"/>
          <ac:grpSpMkLst>
            <pc:docMk/>
            <pc:sldMk cId="880264286" sldId="2147375881"/>
            <ac:grpSpMk id="32" creationId="{176D59F3-E59E-403F-A33F-73D50CF42475}"/>
          </ac:grpSpMkLst>
        </pc:grpChg>
        <pc:grpChg chg="add mod">
          <ac:chgData name="Pirone, Chiara" userId="d9d5b965-323f-43ee-9ca8-6b95d06dc7f9" providerId="ADAL" clId="{EEA06CB2-82F2-4ED8-9229-4AD4686F732E}" dt="2022-05-16T13:17:16.551" v="4296" actId="1076"/>
          <ac:grpSpMkLst>
            <pc:docMk/>
            <pc:sldMk cId="880264286" sldId="2147375881"/>
            <ac:grpSpMk id="36" creationId="{4C469179-C65B-429C-BB00-AC8DF9F6BE4D}"/>
          </ac:grpSpMkLst>
        </pc:grpChg>
        <pc:grpChg chg="add mod">
          <ac:chgData name="Pirone, Chiara" userId="d9d5b965-323f-43ee-9ca8-6b95d06dc7f9" providerId="ADAL" clId="{EEA06CB2-82F2-4ED8-9229-4AD4686F732E}" dt="2022-05-16T13:20:04.187" v="4405"/>
          <ac:grpSpMkLst>
            <pc:docMk/>
            <pc:sldMk cId="880264286" sldId="2147375881"/>
            <ac:grpSpMk id="40" creationId="{B1A10FF1-7B12-4563-A665-121BD5C6326E}"/>
          </ac:grpSpMkLst>
        </pc:grpChg>
        <pc:grpChg chg="add mod">
          <ac:chgData name="Pirone, Chiara" userId="d9d5b965-323f-43ee-9ca8-6b95d06dc7f9" providerId="ADAL" clId="{EEA06CB2-82F2-4ED8-9229-4AD4686F732E}" dt="2022-05-16T13:17:37.596" v="4309" actId="1076"/>
          <ac:grpSpMkLst>
            <pc:docMk/>
            <pc:sldMk cId="880264286" sldId="2147375881"/>
            <ac:grpSpMk id="46" creationId="{C4DDC35D-6DE3-4E69-BA3D-374B268CA4AF}"/>
          </ac:grpSpMkLst>
        </pc:grpChg>
        <pc:grpChg chg="add mod">
          <ac:chgData name="Pirone, Chiara" userId="d9d5b965-323f-43ee-9ca8-6b95d06dc7f9" providerId="ADAL" clId="{EEA06CB2-82F2-4ED8-9229-4AD4686F732E}" dt="2022-05-16T13:17:35.297" v="4308" actId="1076"/>
          <ac:grpSpMkLst>
            <pc:docMk/>
            <pc:sldMk cId="880264286" sldId="2147375881"/>
            <ac:grpSpMk id="47" creationId="{BBDB9A96-F5BE-4D42-9E07-D47EE09A974E}"/>
          </ac:grpSpMkLst>
        </pc:grpChg>
        <pc:grpChg chg="add mod">
          <ac:chgData name="Pirone, Chiara" userId="d9d5b965-323f-43ee-9ca8-6b95d06dc7f9" providerId="ADAL" clId="{EEA06CB2-82F2-4ED8-9229-4AD4686F732E}" dt="2022-05-16T13:20:04.187" v="4405"/>
          <ac:grpSpMkLst>
            <pc:docMk/>
            <pc:sldMk cId="880264286" sldId="2147375881"/>
            <ac:grpSpMk id="48" creationId="{1E452EA9-BF0B-4310-AFEE-59313CB019C1}"/>
          </ac:grpSpMkLst>
        </pc:grpChg>
        <pc:picChg chg="add del mod">
          <ac:chgData name="Pirone, Chiara" userId="d9d5b965-323f-43ee-9ca8-6b95d06dc7f9" providerId="ADAL" clId="{EEA06CB2-82F2-4ED8-9229-4AD4686F732E}" dt="2022-05-16T11:13:20.308" v="3795" actId="21"/>
          <ac:picMkLst>
            <pc:docMk/>
            <pc:sldMk cId="880264286" sldId="2147375881"/>
            <ac:picMk id="5" creationId="{DB93380A-E59C-4F03-92AB-6190C86C74AC}"/>
          </ac:picMkLst>
        </pc:picChg>
        <pc:picChg chg="mod">
          <ac:chgData name="Pirone, Chiara" userId="d9d5b965-323f-43ee-9ca8-6b95d06dc7f9" providerId="ADAL" clId="{EEA06CB2-82F2-4ED8-9229-4AD4686F732E}" dt="2022-05-16T13:17:27.991" v="4306" actId="1036"/>
          <ac:picMkLst>
            <pc:docMk/>
            <pc:sldMk cId="880264286" sldId="2147375881"/>
            <ac:picMk id="8" creationId="{E3881009-DDFA-4F43-925E-C634E1B994E7}"/>
          </ac:picMkLst>
        </pc:picChg>
        <pc:picChg chg="mod">
          <ac:chgData name="Pirone, Chiara" userId="d9d5b965-323f-43ee-9ca8-6b95d06dc7f9" providerId="ADAL" clId="{EEA06CB2-82F2-4ED8-9229-4AD4686F732E}" dt="2022-05-16T13:17:27.991" v="4306" actId="1036"/>
          <ac:picMkLst>
            <pc:docMk/>
            <pc:sldMk cId="880264286" sldId="2147375881"/>
            <ac:picMk id="14" creationId="{00845727-D9E3-41D1-9A61-DDE420AEE0E7}"/>
          </ac:picMkLst>
        </pc:picChg>
        <pc:picChg chg="mod">
          <ac:chgData name="Pirone, Chiara" userId="d9d5b965-323f-43ee-9ca8-6b95d06dc7f9" providerId="ADAL" clId="{EEA06CB2-82F2-4ED8-9229-4AD4686F732E}" dt="2022-05-16T13:17:27.991" v="4306" actId="1036"/>
          <ac:picMkLst>
            <pc:docMk/>
            <pc:sldMk cId="880264286" sldId="2147375881"/>
            <ac:picMk id="17" creationId="{A2716684-4CDC-4EFF-AD9A-4DA7EE93D959}"/>
          </ac:picMkLst>
        </pc:picChg>
        <pc:picChg chg="add mod ord topLvl">
          <ac:chgData name="Pirone, Chiara" userId="d9d5b965-323f-43ee-9ca8-6b95d06dc7f9" providerId="ADAL" clId="{EEA06CB2-82F2-4ED8-9229-4AD4686F732E}" dt="2022-05-16T13:20:04.183" v="4401"/>
          <ac:picMkLst>
            <pc:docMk/>
            <pc:sldMk cId="880264286" sldId="2147375881"/>
            <ac:picMk id="25" creationId="{1BBC7730-9E85-4CFB-BE05-BF5EC138EA6D}"/>
          </ac:picMkLst>
        </pc:picChg>
        <pc:picChg chg="add mod">
          <ac:chgData name="Pirone, Chiara" userId="d9d5b965-323f-43ee-9ca8-6b95d06dc7f9" providerId="ADAL" clId="{EEA06CB2-82F2-4ED8-9229-4AD4686F732E}" dt="2022-05-16T13:17:16.551" v="4296" actId="1076"/>
          <ac:picMkLst>
            <pc:docMk/>
            <pc:sldMk cId="880264286" sldId="2147375881"/>
            <ac:picMk id="26" creationId="{D0705F2F-F05C-4A73-A56F-2332D63E33A9}"/>
          </ac:picMkLst>
        </pc:picChg>
        <pc:picChg chg="add mod">
          <ac:chgData name="Pirone, Chiara" userId="d9d5b965-323f-43ee-9ca8-6b95d06dc7f9" providerId="ADAL" clId="{EEA06CB2-82F2-4ED8-9229-4AD4686F732E}" dt="2022-05-16T13:20:04.187" v="4405"/>
          <ac:picMkLst>
            <pc:docMk/>
            <pc:sldMk cId="880264286" sldId="2147375881"/>
            <ac:picMk id="28" creationId="{2F8B443B-31EB-49F5-B616-860FC2D5701B}"/>
          </ac:picMkLst>
        </pc:picChg>
        <pc:picChg chg="del mod">
          <ac:chgData name="Pirone, Chiara" userId="d9d5b965-323f-43ee-9ca8-6b95d06dc7f9" providerId="ADAL" clId="{EEA06CB2-82F2-4ED8-9229-4AD4686F732E}" dt="2022-05-16T11:45:31.364" v="3884" actId="478"/>
          <ac:picMkLst>
            <pc:docMk/>
            <pc:sldMk cId="880264286" sldId="2147375881"/>
            <ac:picMk id="35" creationId="{3AD6F704-6A01-4432-BE38-435408E3DA57}"/>
          </ac:picMkLst>
        </pc:picChg>
        <pc:picChg chg="add mod">
          <ac:chgData name="Pirone, Chiara" userId="d9d5b965-323f-43ee-9ca8-6b95d06dc7f9" providerId="ADAL" clId="{EEA06CB2-82F2-4ED8-9229-4AD4686F732E}" dt="2022-05-16T13:17:16.551" v="4296" actId="1076"/>
          <ac:picMkLst>
            <pc:docMk/>
            <pc:sldMk cId="880264286" sldId="2147375881"/>
            <ac:picMk id="45" creationId="{526F3ACD-DF01-4D0D-B97B-A3E3A9A2F0EA}"/>
          </ac:picMkLst>
        </pc:picChg>
        <pc:picChg chg="mod">
          <ac:chgData name="Pirone, Chiara" userId="d9d5b965-323f-43ee-9ca8-6b95d06dc7f9" providerId="ADAL" clId="{EEA06CB2-82F2-4ED8-9229-4AD4686F732E}" dt="2022-05-16T13:16:27.156" v="4233" actId="1076"/>
          <ac:picMkLst>
            <pc:docMk/>
            <pc:sldMk cId="880264286" sldId="2147375881"/>
            <ac:picMk id="136" creationId="{F59F0E29-A8B0-469E-85B4-66652E149CD6}"/>
          </ac:picMkLst>
        </pc:picChg>
      </pc:sldChg>
      <pc:sldChg chg="addSp delSp modSp add mod ord">
        <pc:chgData name="Pirone, Chiara" userId="d9d5b965-323f-43ee-9ca8-6b95d06dc7f9" providerId="ADAL" clId="{EEA06CB2-82F2-4ED8-9229-4AD4686F732E}" dt="2022-05-17T14:39:19.467" v="9772"/>
        <pc:sldMkLst>
          <pc:docMk/>
          <pc:sldMk cId="3789927424" sldId="2147375882"/>
        </pc:sldMkLst>
        <pc:spChg chg="mod">
          <ac:chgData name="Pirone, Chiara" userId="d9d5b965-323f-43ee-9ca8-6b95d06dc7f9" providerId="ADAL" clId="{EEA06CB2-82F2-4ED8-9229-4AD4686F732E}" dt="2022-05-16T11:07:14.909" v="3593" actId="1037"/>
          <ac:spMkLst>
            <pc:docMk/>
            <pc:sldMk cId="3789927424" sldId="2147375882"/>
            <ac:spMk id="8" creationId="{EA846D85-5841-47C4-B5E1-9DB2675760CA}"/>
          </ac:spMkLst>
        </pc:spChg>
        <pc:spChg chg="mod">
          <ac:chgData name="Pirone, Chiara" userId="d9d5b965-323f-43ee-9ca8-6b95d06dc7f9" providerId="ADAL" clId="{EEA06CB2-82F2-4ED8-9229-4AD4686F732E}" dt="2022-05-16T11:07:14.909" v="3593" actId="1037"/>
          <ac:spMkLst>
            <pc:docMk/>
            <pc:sldMk cId="3789927424" sldId="2147375882"/>
            <ac:spMk id="9" creationId="{7D6BA340-F6F0-4B01-B270-A8705C6A167B}"/>
          </ac:spMkLst>
        </pc:spChg>
        <pc:spChg chg="mod">
          <ac:chgData name="Pirone, Chiara" userId="d9d5b965-323f-43ee-9ca8-6b95d06dc7f9" providerId="ADAL" clId="{EEA06CB2-82F2-4ED8-9229-4AD4686F732E}" dt="2022-05-16T11:07:14.909" v="3593" actId="1037"/>
          <ac:spMkLst>
            <pc:docMk/>
            <pc:sldMk cId="3789927424" sldId="2147375882"/>
            <ac:spMk id="12" creationId="{3B26A731-954C-4641-B851-40897EA76C21}"/>
          </ac:spMkLst>
        </pc:spChg>
        <pc:spChg chg="mod">
          <ac:chgData name="Pirone, Chiara" userId="d9d5b965-323f-43ee-9ca8-6b95d06dc7f9" providerId="ADAL" clId="{EEA06CB2-82F2-4ED8-9229-4AD4686F732E}" dt="2022-05-16T11:07:14.909" v="3593" actId="1037"/>
          <ac:spMkLst>
            <pc:docMk/>
            <pc:sldMk cId="3789927424" sldId="2147375882"/>
            <ac:spMk id="14" creationId="{676EA7DC-3F85-4A93-9394-4CC103310900}"/>
          </ac:spMkLst>
        </pc:spChg>
        <pc:spChg chg="mod">
          <ac:chgData name="Pirone, Chiara" userId="d9d5b965-323f-43ee-9ca8-6b95d06dc7f9" providerId="ADAL" clId="{EEA06CB2-82F2-4ED8-9229-4AD4686F732E}" dt="2022-05-16T11:07:14.909" v="3593" actId="1037"/>
          <ac:spMkLst>
            <pc:docMk/>
            <pc:sldMk cId="3789927424" sldId="2147375882"/>
            <ac:spMk id="17" creationId="{A7B2C818-F9C5-452C-A6E6-B193FFAA84FF}"/>
          </ac:spMkLst>
        </pc:spChg>
        <pc:spChg chg="mod">
          <ac:chgData name="Pirone, Chiara" userId="d9d5b965-323f-43ee-9ca8-6b95d06dc7f9" providerId="ADAL" clId="{EEA06CB2-82F2-4ED8-9229-4AD4686F732E}" dt="2022-05-16T11:07:14.909" v="3593" actId="1037"/>
          <ac:spMkLst>
            <pc:docMk/>
            <pc:sldMk cId="3789927424" sldId="2147375882"/>
            <ac:spMk id="18" creationId="{470FC02C-E08A-4A31-A9F7-AE9B17B8488B}"/>
          </ac:spMkLst>
        </pc:spChg>
        <pc:spChg chg="add mod ord">
          <ac:chgData name="Pirone, Chiara" userId="d9d5b965-323f-43ee-9ca8-6b95d06dc7f9" providerId="ADAL" clId="{EEA06CB2-82F2-4ED8-9229-4AD4686F732E}" dt="2022-05-16T13:18:46.460" v="4323" actId="1076"/>
          <ac:spMkLst>
            <pc:docMk/>
            <pc:sldMk cId="3789927424" sldId="2147375882"/>
            <ac:spMk id="36" creationId="{5D3142C5-E325-413B-8ED4-A72A03ECE126}"/>
          </ac:spMkLst>
        </pc:spChg>
        <pc:spChg chg="add del mod">
          <ac:chgData name="Pirone, Chiara" userId="d9d5b965-323f-43ee-9ca8-6b95d06dc7f9" providerId="ADAL" clId="{EEA06CB2-82F2-4ED8-9229-4AD4686F732E}" dt="2022-05-16T10:14:46.405" v="3564" actId="478"/>
          <ac:spMkLst>
            <pc:docMk/>
            <pc:sldMk cId="3789927424" sldId="2147375882"/>
            <ac:spMk id="38" creationId="{9903035B-731B-4584-A0A2-DEE912EC99E2}"/>
          </ac:spMkLst>
        </pc:spChg>
        <pc:spChg chg="mod">
          <ac:chgData name="Pirone, Chiara" userId="d9d5b965-323f-43ee-9ca8-6b95d06dc7f9" providerId="ADAL" clId="{EEA06CB2-82F2-4ED8-9229-4AD4686F732E}" dt="2022-05-16T13:19:09.900" v="4369"/>
          <ac:spMkLst>
            <pc:docMk/>
            <pc:sldMk cId="3789927424" sldId="2147375882"/>
            <ac:spMk id="40" creationId="{FF470582-C826-4999-A1CB-0DAB78498C41}"/>
          </ac:spMkLst>
        </pc:spChg>
        <pc:spChg chg="mod">
          <ac:chgData name="Pirone, Chiara" userId="d9d5b965-323f-43ee-9ca8-6b95d06dc7f9" providerId="ADAL" clId="{EEA06CB2-82F2-4ED8-9229-4AD4686F732E}" dt="2022-05-16T13:19:09.900" v="4369"/>
          <ac:spMkLst>
            <pc:docMk/>
            <pc:sldMk cId="3789927424" sldId="2147375882"/>
            <ac:spMk id="41" creationId="{695BE6C2-4342-41F7-87D7-022EA4A5B6F2}"/>
          </ac:spMkLst>
        </pc:spChg>
        <pc:spChg chg="mod">
          <ac:chgData name="Pirone, Chiara" userId="d9d5b965-323f-43ee-9ca8-6b95d06dc7f9" providerId="ADAL" clId="{EEA06CB2-82F2-4ED8-9229-4AD4686F732E}" dt="2022-05-16T13:19:09.900" v="4369"/>
          <ac:spMkLst>
            <pc:docMk/>
            <pc:sldMk cId="3789927424" sldId="2147375882"/>
            <ac:spMk id="43" creationId="{B0583D9A-D59F-4A36-89ED-D40333601186}"/>
          </ac:spMkLst>
        </pc:spChg>
        <pc:spChg chg="mod">
          <ac:chgData name="Pirone, Chiara" userId="d9d5b965-323f-43ee-9ca8-6b95d06dc7f9" providerId="ADAL" clId="{EEA06CB2-82F2-4ED8-9229-4AD4686F732E}" dt="2022-05-16T13:18:22.883" v="4316"/>
          <ac:spMkLst>
            <pc:docMk/>
            <pc:sldMk cId="3789927424" sldId="2147375882"/>
            <ac:spMk id="48" creationId="{9028A4A9-B9CA-4C45-AB91-6A9905B5EED9}"/>
          </ac:spMkLst>
        </pc:spChg>
        <pc:spChg chg="mod">
          <ac:chgData name="Pirone, Chiara" userId="d9d5b965-323f-43ee-9ca8-6b95d06dc7f9" providerId="ADAL" clId="{EEA06CB2-82F2-4ED8-9229-4AD4686F732E}" dt="2022-05-16T13:18:22.883" v="4316"/>
          <ac:spMkLst>
            <pc:docMk/>
            <pc:sldMk cId="3789927424" sldId="2147375882"/>
            <ac:spMk id="49" creationId="{1B0BF4AC-8FED-487B-BCF4-419B29D07703}"/>
          </ac:spMkLst>
        </pc:spChg>
        <pc:spChg chg="mod">
          <ac:chgData name="Pirone, Chiara" userId="d9d5b965-323f-43ee-9ca8-6b95d06dc7f9" providerId="ADAL" clId="{EEA06CB2-82F2-4ED8-9229-4AD4686F732E}" dt="2022-05-16T13:18:22.883" v="4316"/>
          <ac:spMkLst>
            <pc:docMk/>
            <pc:sldMk cId="3789927424" sldId="2147375882"/>
            <ac:spMk id="50" creationId="{5FC8A881-8110-493D-B424-8564A21525A9}"/>
          </ac:spMkLst>
        </pc:spChg>
        <pc:spChg chg="mod">
          <ac:chgData name="Pirone, Chiara" userId="d9d5b965-323f-43ee-9ca8-6b95d06dc7f9" providerId="ADAL" clId="{EEA06CB2-82F2-4ED8-9229-4AD4686F732E}" dt="2022-05-16T13:19:09.904" v="4373"/>
          <ac:spMkLst>
            <pc:docMk/>
            <pc:sldMk cId="3789927424" sldId="2147375882"/>
            <ac:spMk id="54" creationId="{2C60B8C8-37D9-4B0B-BE7B-A959D5E3F80E}"/>
          </ac:spMkLst>
        </pc:spChg>
        <pc:spChg chg="mod">
          <ac:chgData name="Pirone, Chiara" userId="d9d5b965-323f-43ee-9ca8-6b95d06dc7f9" providerId="ADAL" clId="{EEA06CB2-82F2-4ED8-9229-4AD4686F732E}" dt="2022-05-16T13:19:09.904" v="4373"/>
          <ac:spMkLst>
            <pc:docMk/>
            <pc:sldMk cId="3789927424" sldId="2147375882"/>
            <ac:spMk id="55" creationId="{96F4CA55-8D90-4F5B-BD02-979AE67EF88B}"/>
          </ac:spMkLst>
        </pc:spChg>
        <pc:spChg chg="mod">
          <ac:chgData name="Pirone, Chiara" userId="d9d5b965-323f-43ee-9ca8-6b95d06dc7f9" providerId="ADAL" clId="{EEA06CB2-82F2-4ED8-9229-4AD4686F732E}" dt="2022-05-16T13:19:09.904" v="4373"/>
          <ac:spMkLst>
            <pc:docMk/>
            <pc:sldMk cId="3789927424" sldId="2147375882"/>
            <ac:spMk id="56" creationId="{F4CFEF36-425B-4DD2-9A3F-77C39C27040E}"/>
          </ac:spMkLst>
        </pc:spChg>
        <pc:spChg chg="mod">
          <ac:chgData name="Pirone, Chiara" userId="d9d5b965-323f-43ee-9ca8-6b95d06dc7f9" providerId="ADAL" clId="{EEA06CB2-82F2-4ED8-9229-4AD4686F732E}" dt="2022-05-16T13:18:22.883" v="4316"/>
          <ac:spMkLst>
            <pc:docMk/>
            <pc:sldMk cId="3789927424" sldId="2147375882"/>
            <ac:spMk id="60" creationId="{7646E885-339D-4883-89AC-850D2E659DF5}"/>
          </ac:spMkLst>
        </pc:spChg>
        <pc:spChg chg="mod">
          <ac:chgData name="Pirone, Chiara" userId="d9d5b965-323f-43ee-9ca8-6b95d06dc7f9" providerId="ADAL" clId="{EEA06CB2-82F2-4ED8-9229-4AD4686F732E}" dt="2022-05-16T13:18:22.883" v="4316"/>
          <ac:spMkLst>
            <pc:docMk/>
            <pc:sldMk cId="3789927424" sldId="2147375882"/>
            <ac:spMk id="61" creationId="{8F97B8DB-88DC-48E8-9D76-B0C050785F3F}"/>
          </ac:spMkLst>
        </pc:spChg>
        <pc:spChg chg="mod">
          <ac:chgData name="Pirone, Chiara" userId="d9d5b965-323f-43ee-9ca8-6b95d06dc7f9" providerId="ADAL" clId="{EEA06CB2-82F2-4ED8-9229-4AD4686F732E}" dt="2022-05-16T13:18:22.883" v="4316"/>
          <ac:spMkLst>
            <pc:docMk/>
            <pc:sldMk cId="3789927424" sldId="2147375882"/>
            <ac:spMk id="62" creationId="{B8A834A4-8202-42F7-932F-4B7EE2A3E093}"/>
          </ac:spMkLst>
        </pc:spChg>
        <pc:spChg chg="add del mod">
          <ac:chgData name="Pirone, Chiara" userId="d9d5b965-323f-43ee-9ca8-6b95d06dc7f9" providerId="ADAL" clId="{EEA06CB2-82F2-4ED8-9229-4AD4686F732E}" dt="2022-05-16T14:51:16.855" v="4776" actId="478"/>
          <ac:spMkLst>
            <pc:docMk/>
            <pc:sldMk cId="3789927424" sldId="2147375882"/>
            <ac:spMk id="63" creationId="{15BE8A22-9180-44A2-BDEB-3D8620C8E204}"/>
          </ac:spMkLst>
        </pc:spChg>
        <pc:spChg chg="add del mod">
          <ac:chgData name="Pirone, Chiara" userId="d9d5b965-323f-43ee-9ca8-6b95d06dc7f9" providerId="ADAL" clId="{EEA06CB2-82F2-4ED8-9229-4AD4686F732E}" dt="2022-05-16T14:47:25.177" v="4678" actId="478"/>
          <ac:spMkLst>
            <pc:docMk/>
            <pc:sldMk cId="3789927424" sldId="2147375882"/>
            <ac:spMk id="64" creationId="{D5C8C22A-D5C3-43FE-A4B8-1B54E3652F79}"/>
          </ac:spMkLst>
        </pc:spChg>
        <pc:spChg chg="add del mod">
          <ac:chgData name="Pirone, Chiara" userId="d9d5b965-323f-43ee-9ca8-6b95d06dc7f9" providerId="ADAL" clId="{EEA06CB2-82F2-4ED8-9229-4AD4686F732E}" dt="2022-05-16T14:47:25.177" v="4678" actId="478"/>
          <ac:spMkLst>
            <pc:docMk/>
            <pc:sldMk cId="3789927424" sldId="2147375882"/>
            <ac:spMk id="66" creationId="{5AAB1E44-C405-44F4-8FF9-91A6AB6F13C9}"/>
          </ac:spMkLst>
        </pc:spChg>
        <pc:spChg chg="add del mod">
          <ac:chgData name="Pirone, Chiara" userId="d9d5b965-323f-43ee-9ca8-6b95d06dc7f9" providerId="ADAL" clId="{EEA06CB2-82F2-4ED8-9229-4AD4686F732E}" dt="2022-05-16T14:47:25.177" v="4678" actId="478"/>
          <ac:spMkLst>
            <pc:docMk/>
            <pc:sldMk cId="3789927424" sldId="2147375882"/>
            <ac:spMk id="68" creationId="{E846A50E-49FE-4B20-8869-A98794813711}"/>
          </ac:spMkLst>
        </pc:spChg>
        <pc:spChg chg="add del mod">
          <ac:chgData name="Pirone, Chiara" userId="d9d5b965-323f-43ee-9ca8-6b95d06dc7f9" providerId="ADAL" clId="{EEA06CB2-82F2-4ED8-9229-4AD4686F732E}" dt="2022-05-16T14:47:25.177" v="4678" actId="478"/>
          <ac:spMkLst>
            <pc:docMk/>
            <pc:sldMk cId="3789927424" sldId="2147375882"/>
            <ac:spMk id="70" creationId="{F531D7D5-E5DC-49A8-84FC-5DFB3B1B1240}"/>
          </ac:spMkLst>
        </pc:spChg>
        <pc:spChg chg="add del mod">
          <ac:chgData name="Pirone, Chiara" userId="d9d5b965-323f-43ee-9ca8-6b95d06dc7f9" providerId="ADAL" clId="{EEA06CB2-82F2-4ED8-9229-4AD4686F732E}" dt="2022-05-17T08:09:25.816" v="5406" actId="478"/>
          <ac:spMkLst>
            <pc:docMk/>
            <pc:sldMk cId="3789927424" sldId="2147375882"/>
            <ac:spMk id="72" creationId="{F3D765F4-13BA-493B-8436-EF2BF254D0A6}"/>
          </ac:spMkLst>
        </pc:spChg>
        <pc:spChg chg="mod">
          <ac:chgData name="Pirone, Chiara" userId="d9d5b965-323f-43ee-9ca8-6b95d06dc7f9" providerId="ADAL" clId="{EEA06CB2-82F2-4ED8-9229-4AD4686F732E}" dt="2022-05-16T14:47:31.236" v="4679"/>
          <ac:spMkLst>
            <pc:docMk/>
            <pc:sldMk cId="3789927424" sldId="2147375882"/>
            <ac:spMk id="74" creationId="{69403B53-1140-43DF-9B77-0FFACCD65C9B}"/>
          </ac:spMkLst>
        </pc:spChg>
        <pc:spChg chg="mod">
          <ac:chgData name="Pirone, Chiara" userId="d9d5b965-323f-43ee-9ca8-6b95d06dc7f9" providerId="ADAL" clId="{EEA06CB2-82F2-4ED8-9229-4AD4686F732E}" dt="2022-05-16T14:47:31.236" v="4679"/>
          <ac:spMkLst>
            <pc:docMk/>
            <pc:sldMk cId="3789927424" sldId="2147375882"/>
            <ac:spMk id="78" creationId="{84564E8A-7381-4B01-83A7-D06DF278E1C3}"/>
          </ac:spMkLst>
        </pc:spChg>
        <pc:spChg chg="mod">
          <ac:chgData name="Pirone, Chiara" userId="d9d5b965-323f-43ee-9ca8-6b95d06dc7f9" providerId="ADAL" clId="{EEA06CB2-82F2-4ED8-9229-4AD4686F732E}" dt="2022-05-16T14:47:31.236" v="4679"/>
          <ac:spMkLst>
            <pc:docMk/>
            <pc:sldMk cId="3789927424" sldId="2147375882"/>
            <ac:spMk id="80" creationId="{B751908C-EFA2-4F67-BFCE-9A29F40DD57C}"/>
          </ac:spMkLst>
        </pc:spChg>
        <pc:spChg chg="mod">
          <ac:chgData name="Pirone, Chiara" userId="d9d5b965-323f-43ee-9ca8-6b95d06dc7f9" providerId="ADAL" clId="{EEA06CB2-82F2-4ED8-9229-4AD4686F732E}" dt="2022-05-16T14:47:31.236" v="4679"/>
          <ac:spMkLst>
            <pc:docMk/>
            <pc:sldMk cId="3789927424" sldId="2147375882"/>
            <ac:spMk id="83" creationId="{C8C249EE-72BC-4794-9DF0-F35D5A25BC1A}"/>
          </ac:spMkLst>
        </pc:spChg>
        <pc:spChg chg="mod">
          <ac:chgData name="Pirone, Chiara" userId="d9d5b965-323f-43ee-9ca8-6b95d06dc7f9" providerId="ADAL" clId="{EEA06CB2-82F2-4ED8-9229-4AD4686F732E}" dt="2022-05-16T14:47:31.236" v="4679"/>
          <ac:spMkLst>
            <pc:docMk/>
            <pc:sldMk cId="3789927424" sldId="2147375882"/>
            <ac:spMk id="86" creationId="{C4A85FCE-D9EC-473D-ACAB-AC4D73A86B03}"/>
          </ac:spMkLst>
        </pc:spChg>
        <pc:spChg chg="add mod">
          <ac:chgData name="Pirone, Chiara" userId="d9d5b965-323f-43ee-9ca8-6b95d06dc7f9" providerId="ADAL" clId="{EEA06CB2-82F2-4ED8-9229-4AD4686F732E}" dt="2022-05-16T14:52:06.764" v="4791"/>
          <ac:spMkLst>
            <pc:docMk/>
            <pc:sldMk cId="3789927424" sldId="2147375882"/>
            <ac:spMk id="88" creationId="{AB78C67A-3ADE-47CE-AB55-DB9D5CED8298}"/>
          </ac:spMkLst>
        </pc:spChg>
        <pc:spChg chg="add mod">
          <ac:chgData name="Pirone, Chiara" userId="d9d5b965-323f-43ee-9ca8-6b95d06dc7f9" providerId="ADAL" clId="{EEA06CB2-82F2-4ED8-9229-4AD4686F732E}" dt="2022-05-16T14:52:06.764" v="4791"/>
          <ac:spMkLst>
            <pc:docMk/>
            <pc:sldMk cId="3789927424" sldId="2147375882"/>
            <ac:spMk id="89" creationId="{6A460A98-9BE4-4E76-B8F9-C95FAEF1EC48}"/>
          </ac:spMkLst>
        </pc:spChg>
        <pc:spChg chg="mod">
          <ac:chgData name="Pirone, Chiara" userId="d9d5b965-323f-43ee-9ca8-6b95d06dc7f9" providerId="ADAL" clId="{EEA06CB2-82F2-4ED8-9229-4AD4686F732E}" dt="2022-05-16T14:52:23.062" v="4793"/>
          <ac:spMkLst>
            <pc:docMk/>
            <pc:sldMk cId="3789927424" sldId="2147375882"/>
            <ac:spMk id="92" creationId="{B4D96BF4-2ED3-488B-B421-28BE3847B830}"/>
          </ac:spMkLst>
        </pc:spChg>
        <pc:spChg chg="mod">
          <ac:chgData name="Pirone, Chiara" userId="d9d5b965-323f-43ee-9ca8-6b95d06dc7f9" providerId="ADAL" clId="{EEA06CB2-82F2-4ED8-9229-4AD4686F732E}" dt="2022-05-16T14:52:23.062" v="4793"/>
          <ac:spMkLst>
            <pc:docMk/>
            <pc:sldMk cId="3789927424" sldId="2147375882"/>
            <ac:spMk id="93" creationId="{172CADF4-7DEC-4270-8448-8B3B9D3EE35B}"/>
          </ac:spMkLst>
        </pc:spChg>
        <pc:spChg chg="mod">
          <ac:chgData name="Pirone, Chiara" userId="d9d5b965-323f-43ee-9ca8-6b95d06dc7f9" providerId="ADAL" clId="{EEA06CB2-82F2-4ED8-9229-4AD4686F732E}" dt="2022-05-16T14:52:23.062" v="4793"/>
          <ac:spMkLst>
            <pc:docMk/>
            <pc:sldMk cId="3789927424" sldId="2147375882"/>
            <ac:spMk id="96" creationId="{08FA52D9-1689-4FEF-8206-4B9A7BD4300F}"/>
          </ac:spMkLst>
        </pc:spChg>
        <pc:spChg chg="mod">
          <ac:chgData name="Pirone, Chiara" userId="d9d5b965-323f-43ee-9ca8-6b95d06dc7f9" providerId="ADAL" clId="{EEA06CB2-82F2-4ED8-9229-4AD4686F732E}" dt="2022-05-16T14:52:23.062" v="4793"/>
          <ac:spMkLst>
            <pc:docMk/>
            <pc:sldMk cId="3789927424" sldId="2147375882"/>
            <ac:spMk id="98" creationId="{0243F96E-D484-4EC3-A7CC-49D51F10FB10}"/>
          </ac:spMkLst>
        </pc:spChg>
        <pc:spChg chg="mod">
          <ac:chgData name="Pirone, Chiara" userId="d9d5b965-323f-43ee-9ca8-6b95d06dc7f9" providerId="ADAL" clId="{EEA06CB2-82F2-4ED8-9229-4AD4686F732E}" dt="2022-05-16T14:52:23.062" v="4793"/>
          <ac:spMkLst>
            <pc:docMk/>
            <pc:sldMk cId="3789927424" sldId="2147375882"/>
            <ac:spMk id="101" creationId="{C4A5FCC5-2C33-4898-BCF2-584AB516628F}"/>
          </ac:spMkLst>
        </pc:spChg>
        <pc:spChg chg="mod">
          <ac:chgData name="Pirone, Chiara" userId="d9d5b965-323f-43ee-9ca8-6b95d06dc7f9" providerId="ADAL" clId="{EEA06CB2-82F2-4ED8-9229-4AD4686F732E}" dt="2022-05-16T14:52:23.062" v="4793"/>
          <ac:spMkLst>
            <pc:docMk/>
            <pc:sldMk cId="3789927424" sldId="2147375882"/>
            <ac:spMk id="102" creationId="{FF72CBD1-B127-41F5-BA74-BBA3AE099A1B}"/>
          </ac:spMkLst>
        </pc:spChg>
        <pc:spChg chg="add del mod">
          <ac:chgData name="Pirone, Chiara" userId="d9d5b965-323f-43ee-9ca8-6b95d06dc7f9" providerId="ADAL" clId="{EEA06CB2-82F2-4ED8-9229-4AD4686F732E}" dt="2022-05-16T14:53:21.454" v="4837" actId="478"/>
          <ac:spMkLst>
            <pc:docMk/>
            <pc:sldMk cId="3789927424" sldId="2147375882"/>
            <ac:spMk id="103" creationId="{80C0D513-B172-43F6-ABE5-04F9735F1EA8}"/>
          </ac:spMkLst>
        </pc:spChg>
        <pc:spChg chg="add del mod">
          <ac:chgData name="Pirone, Chiara" userId="d9d5b965-323f-43ee-9ca8-6b95d06dc7f9" providerId="ADAL" clId="{EEA06CB2-82F2-4ED8-9229-4AD4686F732E}" dt="2022-05-16T14:52:56.593" v="4797" actId="21"/>
          <ac:spMkLst>
            <pc:docMk/>
            <pc:sldMk cId="3789927424" sldId="2147375882"/>
            <ac:spMk id="104" creationId="{931C9557-B5C0-4C18-B13C-2C661F64F5FA}"/>
          </ac:spMkLst>
        </pc:spChg>
        <pc:spChg chg="mod">
          <ac:chgData name="Pirone, Chiara" userId="d9d5b965-323f-43ee-9ca8-6b95d06dc7f9" providerId="ADAL" clId="{EEA06CB2-82F2-4ED8-9229-4AD4686F732E}" dt="2022-05-16T14:53:34.742" v="4840"/>
          <ac:spMkLst>
            <pc:docMk/>
            <pc:sldMk cId="3789927424" sldId="2147375882"/>
            <ac:spMk id="107" creationId="{3F588722-1680-43DD-958B-C69949F2A8C6}"/>
          </ac:spMkLst>
        </pc:spChg>
        <pc:spChg chg="mod">
          <ac:chgData name="Pirone, Chiara" userId="d9d5b965-323f-43ee-9ca8-6b95d06dc7f9" providerId="ADAL" clId="{EEA06CB2-82F2-4ED8-9229-4AD4686F732E}" dt="2022-05-17T11:32:24.468" v="8197" actId="207"/>
          <ac:spMkLst>
            <pc:docMk/>
            <pc:sldMk cId="3789927424" sldId="2147375882"/>
            <ac:spMk id="108" creationId="{6C8113DF-F9DF-4BCF-85C9-C996791B78CE}"/>
          </ac:spMkLst>
        </pc:spChg>
        <pc:spChg chg="mod">
          <ac:chgData name="Pirone, Chiara" userId="d9d5b965-323f-43ee-9ca8-6b95d06dc7f9" providerId="ADAL" clId="{EEA06CB2-82F2-4ED8-9229-4AD4686F732E}" dt="2022-05-17T11:32:24.468" v="8197" actId="207"/>
          <ac:spMkLst>
            <pc:docMk/>
            <pc:sldMk cId="3789927424" sldId="2147375882"/>
            <ac:spMk id="111" creationId="{BAABCA18-26C8-44E1-8AEA-C11BEE793830}"/>
          </ac:spMkLst>
        </pc:spChg>
        <pc:spChg chg="mod">
          <ac:chgData name="Pirone, Chiara" userId="d9d5b965-323f-43ee-9ca8-6b95d06dc7f9" providerId="ADAL" clId="{EEA06CB2-82F2-4ED8-9229-4AD4686F732E}" dt="2022-05-17T08:10:51.566" v="5439" actId="1036"/>
          <ac:spMkLst>
            <pc:docMk/>
            <pc:sldMk cId="3789927424" sldId="2147375882"/>
            <ac:spMk id="113" creationId="{B6D7BECE-10C8-4567-92D9-4606FEC08B66}"/>
          </ac:spMkLst>
        </pc:spChg>
        <pc:spChg chg="mod">
          <ac:chgData name="Pirone, Chiara" userId="d9d5b965-323f-43ee-9ca8-6b95d06dc7f9" providerId="ADAL" clId="{EEA06CB2-82F2-4ED8-9229-4AD4686F732E}" dt="2022-05-17T11:32:18.494" v="8194"/>
          <ac:spMkLst>
            <pc:docMk/>
            <pc:sldMk cId="3789927424" sldId="2147375882"/>
            <ac:spMk id="116" creationId="{822F2EEA-CAE3-45F4-A0DB-CA9587157721}"/>
          </ac:spMkLst>
        </pc:spChg>
        <pc:spChg chg="mod">
          <ac:chgData name="Pirone, Chiara" userId="d9d5b965-323f-43ee-9ca8-6b95d06dc7f9" providerId="ADAL" clId="{EEA06CB2-82F2-4ED8-9229-4AD4686F732E}" dt="2022-05-17T11:32:24.468" v="8197" actId="207"/>
          <ac:spMkLst>
            <pc:docMk/>
            <pc:sldMk cId="3789927424" sldId="2147375882"/>
            <ac:spMk id="117" creationId="{A3344813-1B28-4CB2-AA56-4B2AC3674543}"/>
          </ac:spMkLst>
        </pc:spChg>
        <pc:spChg chg="add del">
          <ac:chgData name="Pirone, Chiara" userId="d9d5b965-323f-43ee-9ca8-6b95d06dc7f9" providerId="ADAL" clId="{EEA06CB2-82F2-4ED8-9229-4AD4686F732E}" dt="2022-05-16T10:14:33.276" v="3562" actId="478"/>
          <ac:spMkLst>
            <pc:docMk/>
            <pc:sldMk cId="3789927424" sldId="2147375882"/>
            <ac:spMk id="135" creationId="{D0E92D22-F886-4F3B-BC90-22ED27E73D53}"/>
          </ac:spMkLst>
        </pc:spChg>
        <pc:spChg chg="mod">
          <ac:chgData name="Pirone, Chiara" userId="d9d5b965-323f-43ee-9ca8-6b95d06dc7f9" providerId="ADAL" clId="{EEA06CB2-82F2-4ED8-9229-4AD4686F732E}" dt="2022-05-16T10:15:04.025" v="3570" actId="207"/>
          <ac:spMkLst>
            <pc:docMk/>
            <pc:sldMk cId="3789927424" sldId="2147375882"/>
            <ac:spMk id="137" creationId="{C0127670-E626-445F-930E-9E44C37BE878}"/>
          </ac:spMkLst>
        </pc:spChg>
        <pc:grpChg chg="del mod">
          <ac:chgData name="Pirone, Chiara" userId="d9d5b965-323f-43ee-9ca8-6b95d06dc7f9" providerId="ADAL" clId="{EEA06CB2-82F2-4ED8-9229-4AD4686F732E}" dt="2022-05-16T14:52:22.219" v="4792" actId="478"/>
          <ac:grpSpMkLst>
            <pc:docMk/>
            <pc:sldMk cId="3789927424" sldId="2147375882"/>
            <ac:grpSpMk id="6" creationId="{BF32FD60-266D-4C90-9792-FECEE1E39C64}"/>
          </ac:grpSpMkLst>
        </pc:grpChg>
        <pc:grpChg chg="del mod">
          <ac:chgData name="Pirone, Chiara" userId="d9d5b965-323f-43ee-9ca8-6b95d06dc7f9" providerId="ADAL" clId="{EEA06CB2-82F2-4ED8-9229-4AD4686F732E}" dt="2022-05-16T14:52:22.219" v="4792" actId="478"/>
          <ac:grpSpMkLst>
            <pc:docMk/>
            <pc:sldMk cId="3789927424" sldId="2147375882"/>
            <ac:grpSpMk id="10" creationId="{B91F13C9-017B-426E-8F5C-6CEC016309C8}"/>
          </ac:grpSpMkLst>
        </pc:grpChg>
        <pc:grpChg chg="mod">
          <ac:chgData name="Pirone, Chiara" userId="d9d5b965-323f-43ee-9ca8-6b95d06dc7f9" providerId="ADAL" clId="{EEA06CB2-82F2-4ED8-9229-4AD4686F732E}" dt="2022-05-16T11:07:14.909" v="3593" actId="1037"/>
          <ac:grpSpMkLst>
            <pc:docMk/>
            <pc:sldMk cId="3789927424" sldId="2147375882"/>
            <ac:grpSpMk id="11" creationId="{84699378-FC69-407F-895C-F66163E4EED1}"/>
          </ac:grpSpMkLst>
        </pc:grpChg>
        <pc:grpChg chg="del mod">
          <ac:chgData name="Pirone, Chiara" userId="d9d5b965-323f-43ee-9ca8-6b95d06dc7f9" providerId="ADAL" clId="{EEA06CB2-82F2-4ED8-9229-4AD4686F732E}" dt="2022-05-16T14:52:22.219" v="4792" actId="478"/>
          <ac:grpSpMkLst>
            <pc:docMk/>
            <pc:sldMk cId="3789927424" sldId="2147375882"/>
            <ac:grpSpMk id="15" creationId="{E7FB1059-DDF8-40E3-9368-FD5F25D2C72D}"/>
          </ac:grpSpMkLst>
        </pc:grpChg>
        <pc:grpChg chg="add del">
          <ac:chgData name="Pirone, Chiara" userId="d9d5b965-323f-43ee-9ca8-6b95d06dc7f9" providerId="ADAL" clId="{EEA06CB2-82F2-4ED8-9229-4AD4686F732E}" dt="2022-05-16T10:14:33.276" v="3562" actId="478"/>
          <ac:grpSpMkLst>
            <pc:docMk/>
            <pc:sldMk cId="3789927424" sldId="2147375882"/>
            <ac:grpSpMk id="19" creationId="{F8BBB566-283D-4B3D-A3FE-CAA25BBB35FE}"/>
          </ac:grpSpMkLst>
        </pc:grpChg>
        <pc:grpChg chg="add del mod">
          <ac:chgData name="Pirone, Chiara" userId="d9d5b965-323f-43ee-9ca8-6b95d06dc7f9" providerId="ADAL" clId="{EEA06CB2-82F2-4ED8-9229-4AD4686F732E}" dt="2022-05-16T13:19:34.374" v="4379" actId="478"/>
          <ac:grpSpMkLst>
            <pc:docMk/>
            <pc:sldMk cId="3789927424" sldId="2147375882"/>
            <ac:grpSpMk id="39" creationId="{7B61B33A-DC09-4915-AA2B-A60F68B0F7CD}"/>
          </ac:grpSpMkLst>
        </pc:grpChg>
        <pc:grpChg chg="mod">
          <ac:chgData name="Pirone, Chiara" userId="d9d5b965-323f-43ee-9ca8-6b95d06dc7f9" providerId="ADAL" clId="{EEA06CB2-82F2-4ED8-9229-4AD4686F732E}" dt="2022-05-16T13:19:09.900" v="4369"/>
          <ac:grpSpMkLst>
            <pc:docMk/>
            <pc:sldMk cId="3789927424" sldId="2147375882"/>
            <ac:grpSpMk id="42" creationId="{0ED7BA89-02D6-490B-BA63-697AFE29AA2D}"/>
          </ac:grpSpMkLst>
        </pc:grpChg>
        <pc:grpChg chg="add del mod">
          <ac:chgData name="Pirone, Chiara" userId="d9d5b965-323f-43ee-9ca8-6b95d06dc7f9" providerId="ADAL" clId="{EEA06CB2-82F2-4ED8-9229-4AD4686F732E}" dt="2022-05-16T13:19:34.374" v="4379" actId="478"/>
          <ac:grpSpMkLst>
            <pc:docMk/>
            <pc:sldMk cId="3789927424" sldId="2147375882"/>
            <ac:grpSpMk id="45" creationId="{8125CD1D-C544-4FDE-8488-7A41F449BE6C}"/>
          </ac:grpSpMkLst>
        </pc:grpChg>
        <pc:grpChg chg="mod">
          <ac:chgData name="Pirone, Chiara" userId="d9d5b965-323f-43ee-9ca8-6b95d06dc7f9" providerId="ADAL" clId="{EEA06CB2-82F2-4ED8-9229-4AD4686F732E}" dt="2022-05-16T13:18:22.883" v="4316"/>
          <ac:grpSpMkLst>
            <pc:docMk/>
            <pc:sldMk cId="3789927424" sldId="2147375882"/>
            <ac:grpSpMk id="46" creationId="{04695484-4ABE-48C5-9FB7-67CD5194FCAC}"/>
          </ac:grpSpMkLst>
        </pc:grpChg>
        <pc:grpChg chg="add del mod">
          <ac:chgData name="Pirone, Chiara" userId="d9d5b965-323f-43ee-9ca8-6b95d06dc7f9" providerId="ADAL" clId="{EEA06CB2-82F2-4ED8-9229-4AD4686F732E}" dt="2022-05-16T13:19:34.374" v="4379" actId="478"/>
          <ac:grpSpMkLst>
            <pc:docMk/>
            <pc:sldMk cId="3789927424" sldId="2147375882"/>
            <ac:grpSpMk id="51" creationId="{06EC411F-7ECF-45D1-ADB8-703E9BE0797C}"/>
          </ac:grpSpMkLst>
        </pc:grpChg>
        <pc:grpChg chg="mod">
          <ac:chgData name="Pirone, Chiara" userId="d9d5b965-323f-43ee-9ca8-6b95d06dc7f9" providerId="ADAL" clId="{EEA06CB2-82F2-4ED8-9229-4AD4686F732E}" dt="2022-05-16T13:19:09.904" v="4373"/>
          <ac:grpSpMkLst>
            <pc:docMk/>
            <pc:sldMk cId="3789927424" sldId="2147375882"/>
            <ac:grpSpMk id="52" creationId="{6B51754E-F780-4B06-A027-C4F34D60081E}"/>
          </ac:grpSpMkLst>
        </pc:grpChg>
        <pc:grpChg chg="add del mod">
          <ac:chgData name="Pirone, Chiara" userId="d9d5b965-323f-43ee-9ca8-6b95d06dc7f9" providerId="ADAL" clId="{EEA06CB2-82F2-4ED8-9229-4AD4686F732E}" dt="2022-05-16T13:19:34.374" v="4379" actId="478"/>
          <ac:grpSpMkLst>
            <pc:docMk/>
            <pc:sldMk cId="3789927424" sldId="2147375882"/>
            <ac:grpSpMk id="57" creationId="{B77FC5AE-CA71-43B2-B061-1950D333024B}"/>
          </ac:grpSpMkLst>
        </pc:grpChg>
        <pc:grpChg chg="mod">
          <ac:chgData name="Pirone, Chiara" userId="d9d5b965-323f-43ee-9ca8-6b95d06dc7f9" providerId="ADAL" clId="{EEA06CB2-82F2-4ED8-9229-4AD4686F732E}" dt="2022-05-16T13:18:22.883" v="4316"/>
          <ac:grpSpMkLst>
            <pc:docMk/>
            <pc:sldMk cId="3789927424" sldId="2147375882"/>
            <ac:grpSpMk id="58" creationId="{997CC393-A926-4EFC-A2AC-76B3D7BC5C76}"/>
          </ac:grpSpMkLst>
        </pc:grpChg>
        <pc:grpChg chg="add mod">
          <ac:chgData name="Pirone, Chiara" userId="d9d5b965-323f-43ee-9ca8-6b95d06dc7f9" providerId="ADAL" clId="{EEA06CB2-82F2-4ED8-9229-4AD4686F732E}" dt="2022-05-16T14:47:33.477" v="4686" actId="1038"/>
          <ac:grpSpMkLst>
            <pc:docMk/>
            <pc:sldMk cId="3789927424" sldId="2147375882"/>
            <ac:grpSpMk id="73" creationId="{99FD2B28-D056-4D07-83E9-9B29BDB56A2D}"/>
          </ac:grpSpMkLst>
        </pc:grpChg>
        <pc:grpChg chg="add mod">
          <ac:chgData name="Pirone, Chiara" userId="d9d5b965-323f-43ee-9ca8-6b95d06dc7f9" providerId="ADAL" clId="{EEA06CB2-82F2-4ED8-9229-4AD4686F732E}" dt="2022-05-16T14:47:33.477" v="4686" actId="1038"/>
          <ac:grpSpMkLst>
            <pc:docMk/>
            <pc:sldMk cId="3789927424" sldId="2147375882"/>
            <ac:grpSpMk id="76" creationId="{B4B8D5E7-85BF-481D-9E13-46F58DDA0B54}"/>
          </ac:grpSpMkLst>
        </pc:grpChg>
        <pc:grpChg chg="add mod">
          <ac:chgData name="Pirone, Chiara" userId="d9d5b965-323f-43ee-9ca8-6b95d06dc7f9" providerId="ADAL" clId="{EEA06CB2-82F2-4ED8-9229-4AD4686F732E}" dt="2022-05-16T14:47:33.477" v="4686" actId="1038"/>
          <ac:grpSpMkLst>
            <pc:docMk/>
            <pc:sldMk cId="3789927424" sldId="2147375882"/>
            <ac:grpSpMk id="79" creationId="{1A281BE8-E80C-49D3-9ED7-0720D14491AC}"/>
          </ac:grpSpMkLst>
        </pc:grpChg>
        <pc:grpChg chg="add mod">
          <ac:chgData name="Pirone, Chiara" userId="d9d5b965-323f-43ee-9ca8-6b95d06dc7f9" providerId="ADAL" clId="{EEA06CB2-82F2-4ED8-9229-4AD4686F732E}" dt="2022-05-16T14:47:33.477" v="4686" actId="1038"/>
          <ac:grpSpMkLst>
            <pc:docMk/>
            <pc:sldMk cId="3789927424" sldId="2147375882"/>
            <ac:grpSpMk id="82" creationId="{8B827071-599B-4A4B-A18D-3898AE511291}"/>
          </ac:grpSpMkLst>
        </pc:grpChg>
        <pc:grpChg chg="add mod">
          <ac:chgData name="Pirone, Chiara" userId="d9d5b965-323f-43ee-9ca8-6b95d06dc7f9" providerId="ADAL" clId="{EEA06CB2-82F2-4ED8-9229-4AD4686F732E}" dt="2022-05-16T14:47:33.477" v="4686" actId="1038"/>
          <ac:grpSpMkLst>
            <pc:docMk/>
            <pc:sldMk cId="3789927424" sldId="2147375882"/>
            <ac:grpSpMk id="85" creationId="{83AFCCDA-4F64-4348-BAA5-55FE962869C4}"/>
          </ac:grpSpMkLst>
        </pc:grpChg>
        <pc:grpChg chg="add del mod">
          <ac:chgData name="Pirone, Chiara" userId="d9d5b965-323f-43ee-9ca8-6b95d06dc7f9" providerId="ADAL" clId="{EEA06CB2-82F2-4ED8-9229-4AD4686F732E}" dt="2022-05-16T14:53:33.928" v="4839" actId="478"/>
          <ac:grpSpMkLst>
            <pc:docMk/>
            <pc:sldMk cId="3789927424" sldId="2147375882"/>
            <ac:grpSpMk id="90" creationId="{AA16B6D1-10BE-4A8D-9693-3F1D05567156}"/>
          </ac:grpSpMkLst>
        </pc:grpChg>
        <pc:grpChg chg="add del mod">
          <ac:chgData name="Pirone, Chiara" userId="d9d5b965-323f-43ee-9ca8-6b95d06dc7f9" providerId="ADAL" clId="{EEA06CB2-82F2-4ED8-9229-4AD4686F732E}" dt="2022-05-16T14:53:33.928" v="4839" actId="478"/>
          <ac:grpSpMkLst>
            <pc:docMk/>
            <pc:sldMk cId="3789927424" sldId="2147375882"/>
            <ac:grpSpMk id="94" creationId="{47A4764A-8AB4-4253-92AF-5C3C1D27D293}"/>
          </ac:grpSpMkLst>
        </pc:grpChg>
        <pc:grpChg chg="mod">
          <ac:chgData name="Pirone, Chiara" userId="d9d5b965-323f-43ee-9ca8-6b95d06dc7f9" providerId="ADAL" clId="{EEA06CB2-82F2-4ED8-9229-4AD4686F732E}" dt="2022-05-16T14:52:23.062" v="4793"/>
          <ac:grpSpMkLst>
            <pc:docMk/>
            <pc:sldMk cId="3789927424" sldId="2147375882"/>
            <ac:grpSpMk id="95" creationId="{DD3F00CB-71ED-4A01-AB45-96E66F87D81D}"/>
          </ac:grpSpMkLst>
        </pc:grpChg>
        <pc:grpChg chg="add del mod">
          <ac:chgData name="Pirone, Chiara" userId="d9d5b965-323f-43ee-9ca8-6b95d06dc7f9" providerId="ADAL" clId="{EEA06CB2-82F2-4ED8-9229-4AD4686F732E}" dt="2022-05-16T14:53:33.928" v="4839" actId="478"/>
          <ac:grpSpMkLst>
            <pc:docMk/>
            <pc:sldMk cId="3789927424" sldId="2147375882"/>
            <ac:grpSpMk id="99" creationId="{0A1597E6-7E9A-4E22-9E84-51FFC1D9EFBC}"/>
          </ac:grpSpMkLst>
        </pc:grpChg>
        <pc:grpChg chg="add mod">
          <ac:chgData name="Pirone, Chiara" userId="d9d5b965-323f-43ee-9ca8-6b95d06dc7f9" providerId="ADAL" clId="{EEA06CB2-82F2-4ED8-9229-4AD4686F732E}" dt="2022-05-16T14:53:34.742" v="4840"/>
          <ac:grpSpMkLst>
            <pc:docMk/>
            <pc:sldMk cId="3789927424" sldId="2147375882"/>
            <ac:grpSpMk id="105" creationId="{48AE8B07-A1D7-405E-9B18-11DFB3D3406C}"/>
          </ac:grpSpMkLst>
        </pc:grpChg>
        <pc:grpChg chg="add mod">
          <ac:chgData name="Pirone, Chiara" userId="d9d5b965-323f-43ee-9ca8-6b95d06dc7f9" providerId="ADAL" clId="{EEA06CB2-82F2-4ED8-9229-4AD4686F732E}" dt="2022-05-17T08:10:51.566" v="5439" actId="1036"/>
          <ac:grpSpMkLst>
            <pc:docMk/>
            <pc:sldMk cId="3789927424" sldId="2147375882"/>
            <ac:grpSpMk id="109" creationId="{8C0BCFF2-7A73-4365-85B8-208EBAD2EA11}"/>
          </ac:grpSpMkLst>
        </pc:grpChg>
        <pc:grpChg chg="mod">
          <ac:chgData name="Pirone, Chiara" userId="d9d5b965-323f-43ee-9ca8-6b95d06dc7f9" providerId="ADAL" clId="{EEA06CB2-82F2-4ED8-9229-4AD4686F732E}" dt="2022-05-17T08:10:51.566" v="5439" actId="1036"/>
          <ac:grpSpMkLst>
            <pc:docMk/>
            <pc:sldMk cId="3789927424" sldId="2147375882"/>
            <ac:grpSpMk id="110" creationId="{E946CD4F-064C-40DD-9A18-1CC3374AA4F4}"/>
          </ac:grpSpMkLst>
        </pc:grpChg>
        <pc:grpChg chg="add mod">
          <ac:chgData name="Pirone, Chiara" userId="d9d5b965-323f-43ee-9ca8-6b95d06dc7f9" providerId="ADAL" clId="{EEA06CB2-82F2-4ED8-9229-4AD4686F732E}" dt="2022-05-17T11:32:18.494" v="8194"/>
          <ac:grpSpMkLst>
            <pc:docMk/>
            <pc:sldMk cId="3789927424" sldId="2147375882"/>
            <ac:grpSpMk id="114" creationId="{9E70E107-FDB1-4EF4-85A3-D508C94FD3AE}"/>
          </ac:grpSpMkLst>
        </pc:grpChg>
        <pc:picChg chg="mod">
          <ac:chgData name="Pirone, Chiara" userId="d9d5b965-323f-43ee-9ca8-6b95d06dc7f9" providerId="ADAL" clId="{EEA06CB2-82F2-4ED8-9229-4AD4686F732E}" dt="2022-05-16T11:07:14.909" v="3593" actId="1037"/>
          <ac:picMkLst>
            <pc:docMk/>
            <pc:sldMk cId="3789927424" sldId="2147375882"/>
            <ac:picMk id="7" creationId="{4F04CD6B-0720-43DF-8015-4AAA498E1A93}"/>
          </ac:picMkLst>
        </pc:picChg>
        <pc:picChg chg="mod">
          <ac:chgData name="Pirone, Chiara" userId="d9d5b965-323f-43ee-9ca8-6b95d06dc7f9" providerId="ADAL" clId="{EEA06CB2-82F2-4ED8-9229-4AD4686F732E}" dt="2022-05-16T11:07:14.909" v="3593" actId="1037"/>
          <ac:picMkLst>
            <pc:docMk/>
            <pc:sldMk cId="3789927424" sldId="2147375882"/>
            <ac:picMk id="13" creationId="{0F1A4FDD-E3B5-4122-893F-81AA720D69AB}"/>
          </ac:picMkLst>
        </pc:picChg>
        <pc:picChg chg="mod">
          <ac:chgData name="Pirone, Chiara" userId="d9d5b965-323f-43ee-9ca8-6b95d06dc7f9" providerId="ADAL" clId="{EEA06CB2-82F2-4ED8-9229-4AD4686F732E}" dt="2022-05-16T11:07:14.909" v="3593" actId="1037"/>
          <ac:picMkLst>
            <pc:docMk/>
            <pc:sldMk cId="3789927424" sldId="2147375882"/>
            <ac:picMk id="16" creationId="{F0FC644D-1410-469F-BF8D-11C54CDB707A}"/>
          </ac:picMkLst>
        </pc:picChg>
        <pc:picChg chg="add del">
          <ac:chgData name="Pirone, Chiara" userId="d9d5b965-323f-43ee-9ca8-6b95d06dc7f9" providerId="ADAL" clId="{EEA06CB2-82F2-4ED8-9229-4AD4686F732E}" dt="2022-05-16T10:14:33.276" v="3562" actId="478"/>
          <ac:picMkLst>
            <pc:docMk/>
            <pc:sldMk cId="3789927424" sldId="2147375882"/>
            <ac:picMk id="34" creationId="{E1BA6F11-CA71-4CEA-9B13-05187E9ACFF4}"/>
          </ac:picMkLst>
        </pc:picChg>
        <pc:picChg chg="add del mod">
          <ac:chgData name="Pirone, Chiara" userId="d9d5b965-323f-43ee-9ca8-6b95d06dc7f9" providerId="ADAL" clId="{EEA06CB2-82F2-4ED8-9229-4AD4686F732E}" dt="2022-05-16T13:18:48.235" v="4324" actId="478"/>
          <ac:picMkLst>
            <pc:docMk/>
            <pc:sldMk cId="3789927424" sldId="2147375882"/>
            <ac:picMk id="35" creationId="{D24FF106-4A36-4892-9EA6-927998E32299}"/>
          </ac:picMkLst>
        </pc:picChg>
        <pc:picChg chg="add mod ord modCrop">
          <ac:chgData name="Pirone, Chiara" userId="d9d5b965-323f-43ee-9ca8-6b95d06dc7f9" providerId="ADAL" clId="{EEA06CB2-82F2-4ED8-9229-4AD4686F732E}" dt="2022-05-16T13:19:27.439" v="4376" actId="1076"/>
          <ac:picMkLst>
            <pc:docMk/>
            <pc:sldMk cId="3789927424" sldId="2147375882"/>
            <ac:picMk id="37" creationId="{BF09E17F-979B-4704-8D2F-A90F860EDC26}"/>
          </ac:picMkLst>
        </pc:picChg>
        <pc:picChg chg="add mod">
          <ac:chgData name="Pirone, Chiara" userId="d9d5b965-323f-43ee-9ca8-6b95d06dc7f9" providerId="ADAL" clId="{EEA06CB2-82F2-4ED8-9229-4AD4686F732E}" dt="2022-05-17T14:39:19.467" v="9772"/>
          <ac:picMkLst>
            <pc:docMk/>
            <pc:sldMk cId="3789927424" sldId="2147375882"/>
            <ac:picMk id="38" creationId="{1809EA51-208D-4777-AF70-D55494ADDC40}"/>
          </ac:picMkLst>
        </pc:picChg>
        <pc:picChg chg="mod">
          <ac:chgData name="Pirone, Chiara" userId="d9d5b965-323f-43ee-9ca8-6b95d06dc7f9" providerId="ADAL" clId="{EEA06CB2-82F2-4ED8-9229-4AD4686F732E}" dt="2022-05-16T13:19:09.900" v="4369"/>
          <ac:picMkLst>
            <pc:docMk/>
            <pc:sldMk cId="3789927424" sldId="2147375882"/>
            <ac:picMk id="44" creationId="{5506EC9C-9848-45F2-A833-7AB56D58244D}"/>
          </ac:picMkLst>
        </pc:picChg>
        <pc:picChg chg="mod">
          <ac:chgData name="Pirone, Chiara" userId="d9d5b965-323f-43ee-9ca8-6b95d06dc7f9" providerId="ADAL" clId="{EEA06CB2-82F2-4ED8-9229-4AD4686F732E}" dt="2022-05-16T13:18:22.883" v="4316"/>
          <ac:picMkLst>
            <pc:docMk/>
            <pc:sldMk cId="3789927424" sldId="2147375882"/>
            <ac:picMk id="47" creationId="{20177BDF-18AA-436E-8AFA-E1852ED6F665}"/>
          </ac:picMkLst>
        </pc:picChg>
        <pc:picChg chg="mod">
          <ac:chgData name="Pirone, Chiara" userId="d9d5b965-323f-43ee-9ca8-6b95d06dc7f9" providerId="ADAL" clId="{EEA06CB2-82F2-4ED8-9229-4AD4686F732E}" dt="2022-05-16T13:19:09.904" v="4373"/>
          <ac:picMkLst>
            <pc:docMk/>
            <pc:sldMk cId="3789927424" sldId="2147375882"/>
            <ac:picMk id="53" creationId="{07857C6C-3B42-4F5A-B6CF-4201F027DA62}"/>
          </ac:picMkLst>
        </pc:picChg>
        <pc:picChg chg="mod">
          <ac:chgData name="Pirone, Chiara" userId="d9d5b965-323f-43ee-9ca8-6b95d06dc7f9" providerId="ADAL" clId="{EEA06CB2-82F2-4ED8-9229-4AD4686F732E}" dt="2022-05-16T13:18:22.883" v="4316"/>
          <ac:picMkLst>
            <pc:docMk/>
            <pc:sldMk cId="3789927424" sldId="2147375882"/>
            <ac:picMk id="59" creationId="{DF16C237-0A56-4C59-BD7D-A84C2E0F2330}"/>
          </ac:picMkLst>
        </pc:picChg>
        <pc:picChg chg="add del mod">
          <ac:chgData name="Pirone, Chiara" userId="d9d5b965-323f-43ee-9ca8-6b95d06dc7f9" providerId="ADAL" clId="{EEA06CB2-82F2-4ED8-9229-4AD4686F732E}" dt="2022-05-16T14:47:25.177" v="4678" actId="478"/>
          <ac:picMkLst>
            <pc:docMk/>
            <pc:sldMk cId="3789927424" sldId="2147375882"/>
            <ac:picMk id="65" creationId="{1CDA1F88-25BB-42F0-9468-38CD7C257DC5}"/>
          </ac:picMkLst>
        </pc:picChg>
        <pc:picChg chg="add del mod">
          <ac:chgData name="Pirone, Chiara" userId="d9d5b965-323f-43ee-9ca8-6b95d06dc7f9" providerId="ADAL" clId="{EEA06CB2-82F2-4ED8-9229-4AD4686F732E}" dt="2022-05-16T14:47:25.177" v="4678" actId="478"/>
          <ac:picMkLst>
            <pc:docMk/>
            <pc:sldMk cId="3789927424" sldId="2147375882"/>
            <ac:picMk id="67" creationId="{5247321F-2FAA-4251-B51B-F7F41AD4AFBA}"/>
          </ac:picMkLst>
        </pc:picChg>
        <pc:picChg chg="add del mod">
          <ac:chgData name="Pirone, Chiara" userId="d9d5b965-323f-43ee-9ca8-6b95d06dc7f9" providerId="ADAL" clId="{EEA06CB2-82F2-4ED8-9229-4AD4686F732E}" dt="2022-05-16T14:47:25.177" v="4678" actId="478"/>
          <ac:picMkLst>
            <pc:docMk/>
            <pc:sldMk cId="3789927424" sldId="2147375882"/>
            <ac:picMk id="69" creationId="{E4446151-DF89-489B-8DF9-F1DF83A6476E}"/>
          </ac:picMkLst>
        </pc:picChg>
        <pc:picChg chg="add del mod">
          <ac:chgData name="Pirone, Chiara" userId="d9d5b965-323f-43ee-9ca8-6b95d06dc7f9" providerId="ADAL" clId="{EEA06CB2-82F2-4ED8-9229-4AD4686F732E}" dt="2022-05-16T14:47:25.177" v="4678" actId="478"/>
          <ac:picMkLst>
            <pc:docMk/>
            <pc:sldMk cId="3789927424" sldId="2147375882"/>
            <ac:picMk id="71" creationId="{EE671429-C2F8-4868-A82D-4C0399801E16}"/>
          </ac:picMkLst>
        </pc:picChg>
        <pc:picChg chg="mod">
          <ac:chgData name="Pirone, Chiara" userId="d9d5b965-323f-43ee-9ca8-6b95d06dc7f9" providerId="ADAL" clId="{EEA06CB2-82F2-4ED8-9229-4AD4686F732E}" dt="2022-05-16T14:47:31.236" v="4679"/>
          <ac:picMkLst>
            <pc:docMk/>
            <pc:sldMk cId="3789927424" sldId="2147375882"/>
            <ac:picMk id="75" creationId="{878F2E32-3D33-4477-AB42-C26F4CBA9A14}"/>
          </ac:picMkLst>
        </pc:picChg>
        <pc:picChg chg="mod">
          <ac:chgData name="Pirone, Chiara" userId="d9d5b965-323f-43ee-9ca8-6b95d06dc7f9" providerId="ADAL" clId="{EEA06CB2-82F2-4ED8-9229-4AD4686F732E}" dt="2022-05-16T14:47:31.236" v="4679"/>
          <ac:picMkLst>
            <pc:docMk/>
            <pc:sldMk cId="3789927424" sldId="2147375882"/>
            <ac:picMk id="77" creationId="{A93B65A2-F1DB-4D34-B2AC-602570D043CD}"/>
          </ac:picMkLst>
        </pc:picChg>
        <pc:picChg chg="mod">
          <ac:chgData name="Pirone, Chiara" userId="d9d5b965-323f-43ee-9ca8-6b95d06dc7f9" providerId="ADAL" clId="{EEA06CB2-82F2-4ED8-9229-4AD4686F732E}" dt="2022-05-16T14:47:31.236" v="4679"/>
          <ac:picMkLst>
            <pc:docMk/>
            <pc:sldMk cId="3789927424" sldId="2147375882"/>
            <ac:picMk id="81" creationId="{9CED817A-232B-4614-8D72-D999AFDA4644}"/>
          </ac:picMkLst>
        </pc:picChg>
        <pc:picChg chg="mod">
          <ac:chgData name="Pirone, Chiara" userId="d9d5b965-323f-43ee-9ca8-6b95d06dc7f9" providerId="ADAL" clId="{EEA06CB2-82F2-4ED8-9229-4AD4686F732E}" dt="2022-05-16T14:47:31.236" v="4679"/>
          <ac:picMkLst>
            <pc:docMk/>
            <pc:sldMk cId="3789927424" sldId="2147375882"/>
            <ac:picMk id="84" creationId="{11E9A126-1C15-4A6B-B232-BDF5AEE52250}"/>
          </ac:picMkLst>
        </pc:picChg>
        <pc:picChg chg="mod">
          <ac:chgData name="Pirone, Chiara" userId="d9d5b965-323f-43ee-9ca8-6b95d06dc7f9" providerId="ADAL" clId="{EEA06CB2-82F2-4ED8-9229-4AD4686F732E}" dt="2022-05-16T14:47:31.236" v="4679"/>
          <ac:picMkLst>
            <pc:docMk/>
            <pc:sldMk cId="3789927424" sldId="2147375882"/>
            <ac:picMk id="87" creationId="{7B21E15B-FFF5-4564-A2E7-EF0505492C8F}"/>
          </ac:picMkLst>
        </pc:picChg>
        <pc:picChg chg="mod">
          <ac:chgData name="Pirone, Chiara" userId="d9d5b965-323f-43ee-9ca8-6b95d06dc7f9" providerId="ADAL" clId="{EEA06CB2-82F2-4ED8-9229-4AD4686F732E}" dt="2022-05-16T14:52:23.062" v="4793"/>
          <ac:picMkLst>
            <pc:docMk/>
            <pc:sldMk cId="3789927424" sldId="2147375882"/>
            <ac:picMk id="91" creationId="{D400CC13-19B0-453D-ADB5-1C72A31AEDDA}"/>
          </ac:picMkLst>
        </pc:picChg>
        <pc:picChg chg="mod">
          <ac:chgData name="Pirone, Chiara" userId="d9d5b965-323f-43ee-9ca8-6b95d06dc7f9" providerId="ADAL" clId="{EEA06CB2-82F2-4ED8-9229-4AD4686F732E}" dt="2022-05-16T14:52:23.062" v="4793"/>
          <ac:picMkLst>
            <pc:docMk/>
            <pc:sldMk cId="3789927424" sldId="2147375882"/>
            <ac:picMk id="97" creationId="{8AC67E1D-0359-43E5-9FF1-1809DD1FD999}"/>
          </ac:picMkLst>
        </pc:picChg>
        <pc:picChg chg="mod">
          <ac:chgData name="Pirone, Chiara" userId="d9d5b965-323f-43ee-9ca8-6b95d06dc7f9" providerId="ADAL" clId="{EEA06CB2-82F2-4ED8-9229-4AD4686F732E}" dt="2022-05-16T14:52:23.062" v="4793"/>
          <ac:picMkLst>
            <pc:docMk/>
            <pc:sldMk cId="3789927424" sldId="2147375882"/>
            <ac:picMk id="100" creationId="{ECA11A57-13FF-4793-8CFF-FF2BDF5A608A}"/>
          </ac:picMkLst>
        </pc:picChg>
        <pc:picChg chg="mod">
          <ac:chgData name="Pirone, Chiara" userId="d9d5b965-323f-43ee-9ca8-6b95d06dc7f9" providerId="ADAL" clId="{EEA06CB2-82F2-4ED8-9229-4AD4686F732E}" dt="2022-05-16T14:53:34.742" v="4840"/>
          <ac:picMkLst>
            <pc:docMk/>
            <pc:sldMk cId="3789927424" sldId="2147375882"/>
            <ac:picMk id="106" creationId="{6DDE8CF1-9C73-490A-9767-8EDED9AFC485}"/>
          </ac:picMkLst>
        </pc:picChg>
        <pc:picChg chg="mod">
          <ac:chgData name="Pirone, Chiara" userId="d9d5b965-323f-43ee-9ca8-6b95d06dc7f9" providerId="ADAL" clId="{EEA06CB2-82F2-4ED8-9229-4AD4686F732E}" dt="2022-05-17T08:10:51.566" v="5439" actId="1036"/>
          <ac:picMkLst>
            <pc:docMk/>
            <pc:sldMk cId="3789927424" sldId="2147375882"/>
            <ac:picMk id="112" creationId="{41E7D803-6B98-4075-9632-72C26ADFDE6C}"/>
          </ac:picMkLst>
        </pc:picChg>
        <pc:picChg chg="mod">
          <ac:chgData name="Pirone, Chiara" userId="d9d5b965-323f-43ee-9ca8-6b95d06dc7f9" providerId="ADAL" clId="{EEA06CB2-82F2-4ED8-9229-4AD4686F732E}" dt="2022-05-17T11:32:18.494" v="8194"/>
          <ac:picMkLst>
            <pc:docMk/>
            <pc:sldMk cId="3789927424" sldId="2147375882"/>
            <ac:picMk id="115" creationId="{FD201836-6964-4250-BA5B-42392A5B3D92}"/>
          </ac:picMkLst>
        </pc:picChg>
      </pc:sldChg>
      <pc:sldChg chg="addSp delSp modSp add mod ord modShow">
        <pc:chgData name="Pirone, Chiara" userId="d9d5b965-323f-43ee-9ca8-6b95d06dc7f9" providerId="ADAL" clId="{EEA06CB2-82F2-4ED8-9229-4AD4686F732E}" dt="2022-05-17T08:09:17.263" v="5403"/>
        <pc:sldMkLst>
          <pc:docMk/>
          <pc:sldMk cId="1112513643" sldId="2147375883"/>
        </pc:sldMkLst>
        <pc:spChg chg="del mod">
          <ac:chgData name="Pirone, Chiara" userId="d9d5b965-323f-43ee-9ca8-6b95d06dc7f9" providerId="ADAL" clId="{EEA06CB2-82F2-4ED8-9229-4AD4686F732E}" dt="2022-05-16T14:47:06.522" v="4673" actId="478"/>
          <ac:spMkLst>
            <pc:docMk/>
            <pc:sldMk cId="1112513643" sldId="2147375883"/>
            <ac:spMk id="3" creationId="{89662829-E4D5-4FD3-9F2D-3B767BE11408}"/>
          </ac:spMkLst>
        </pc:spChg>
        <pc:spChg chg="mod">
          <ac:chgData name="Pirone, Chiara" userId="d9d5b965-323f-43ee-9ca8-6b95d06dc7f9" providerId="ADAL" clId="{EEA06CB2-82F2-4ED8-9229-4AD4686F732E}" dt="2022-05-16T14:53:15.589" v="4835" actId="1037"/>
          <ac:spMkLst>
            <pc:docMk/>
            <pc:sldMk cId="1112513643" sldId="2147375883"/>
            <ac:spMk id="8" creationId="{EA846D85-5841-47C4-B5E1-9DB2675760CA}"/>
          </ac:spMkLst>
        </pc:spChg>
        <pc:spChg chg="mod">
          <ac:chgData name="Pirone, Chiara" userId="d9d5b965-323f-43ee-9ca8-6b95d06dc7f9" providerId="ADAL" clId="{EEA06CB2-82F2-4ED8-9229-4AD4686F732E}" dt="2022-05-16T14:53:15.589" v="4835" actId="1037"/>
          <ac:spMkLst>
            <pc:docMk/>
            <pc:sldMk cId="1112513643" sldId="2147375883"/>
            <ac:spMk id="9" creationId="{7D6BA340-F6F0-4B01-B270-A8705C6A167B}"/>
          </ac:spMkLst>
        </pc:spChg>
        <pc:spChg chg="mod">
          <ac:chgData name="Pirone, Chiara" userId="d9d5b965-323f-43ee-9ca8-6b95d06dc7f9" providerId="ADAL" clId="{EEA06CB2-82F2-4ED8-9229-4AD4686F732E}" dt="2022-05-16T14:53:15.589" v="4835" actId="1037"/>
          <ac:spMkLst>
            <pc:docMk/>
            <pc:sldMk cId="1112513643" sldId="2147375883"/>
            <ac:spMk id="12" creationId="{3B26A731-954C-4641-B851-40897EA76C21}"/>
          </ac:spMkLst>
        </pc:spChg>
        <pc:spChg chg="mod">
          <ac:chgData name="Pirone, Chiara" userId="d9d5b965-323f-43ee-9ca8-6b95d06dc7f9" providerId="ADAL" clId="{EEA06CB2-82F2-4ED8-9229-4AD4686F732E}" dt="2022-05-16T14:53:15.589" v="4835" actId="1037"/>
          <ac:spMkLst>
            <pc:docMk/>
            <pc:sldMk cId="1112513643" sldId="2147375883"/>
            <ac:spMk id="14" creationId="{676EA7DC-3F85-4A93-9394-4CC103310900}"/>
          </ac:spMkLst>
        </pc:spChg>
        <pc:spChg chg="mod">
          <ac:chgData name="Pirone, Chiara" userId="d9d5b965-323f-43ee-9ca8-6b95d06dc7f9" providerId="ADAL" clId="{EEA06CB2-82F2-4ED8-9229-4AD4686F732E}" dt="2022-05-16T14:53:15.589" v="4835" actId="1037"/>
          <ac:spMkLst>
            <pc:docMk/>
            <pc:sldMk cId="1112513643" sldId="2147375883"/>
            <ac:spMk id="17" creationId="{A7B2C818-F9C5-452C-A6E6-B193FFAA84FF}"/>
          </ac:spMkLst>
        </pc:spChg>
        <pc:spChg chg="mod">
          <ac:chgData name="Pirone, Chiara" userId="d9d5b965-323f-43ee-9ca8-6b95d06dc7f9" providerId="ADAL" clId="{EEA06CB2-82F2-4ED8-9229-4AD4686F732E}" dt="2022-05-16T14:53:15.589" v="4835" actId="1037"/>
          <ac:spMkLst>
            <pc:docMk/>
            <pc:sldMk cId="1112513643" sldId="2147375883"/>
            <ac:spMk id="18" creationId="{470FC02C-E08A-4A31-A9F7-AE9B17B8488B}"/>
          </ac:spMkLst>
        </pc:spChg>
        <pc:spChg chg="add del mod topLvl">
          <ac:chgData name="Pirone, Chiara" userId="d9d5b965-323f-43ee-9ca8-6b95d06dc7f9" providerId="ADAL" clId="{EEA06CB2-82F2-4ED8-9229-4AD4686F732E}" dt="2022-05-16T13:14:46.977" v="4204" actId="478"/>
          <ac:spMkLst>
            <pc:docMk/>
            <pc:sldMk cId="1112513643" sldId="2147375883"/>
            <ac:spMk id="36" creationId="{93FBC61F-4E84-40B4-AE3E-AE34AA4BF64B}"/>
          </ac:spMkLst>
        </pc:spChg>
        <pc:spChg chg="mod topLvl">
          <ac:chgData name="Pirone, Chiara" userId="d9d5b965-323f-43ee-9ca8-6b95d06dc7f9" providerId="ADAL" clId="{EEA06CB2-82F2-4ED8-9229-4AD4686F732E}" dt="2022-05-16T14:46:47.285" v="4650" actId="164"/>
          <ac:spMkLst>
            <pc:docMk/>
            <pc:sldMk cId="1112513643" sldId="2147375883"/>
            <ac:spMk id="37" creationId="{BABA18B9-D1F3-4D89-BEE6-7035D799EF22}"/>
          </ac:spMkLst>
        </pc:spChg>
        <pc:spChg chg="del mod">
          <ac:chgData name="Pirone, Chiara" userId="d9d5b965-323f-43ee-9ca8-6b95d06dc7f9" providerId="ADAL" clId="{EEA06CB2-82F2-4ED8-9229-4AD4686F732E}" dt="2022-05-16T13:11:03.911" v="4103" actId="478"/>
          <ac:spMkLst>
            <pc:docMk/>
            <pc:sldMk cId="1112513643" sldId="2147375883"/>
            <ac:spMk id="39" creationId="{526B8586-0D49-4AA8-A519-76D9F4089DAB}"/>
          </ac:spMkLst>
        </pc:spChg>
        <pc:spChg chg="del mod topLvl">
          <ac:chgData name="Pirone, Chiara" userId="d9d5b965-323f-43ee-9ca8-6b95d06dc7f9" providerId="ADAL" clId="{EEA06CB2-82F2-4ED8-9229-4AD4686F732E}" dt="2022-05-16T13:13:58.726" v="4169" actId="478"/>
          <ac:spMkLst>
            <pc:docMk/>
            <pc:sldMk cId="1112513643" sldId="2147375883"/>
            <ac:spMk id="44" creationId="{DAD91042-8A30-4E33-A5EE-EBE7D9A2AB5E}"/>
          </ac:spMkLst>
        </pc:spChg>
        <pc:spChg chg="mod topLvl">
          <ac:chgData name="Pirone, Chiara" userId="d9d5b965-323f-43ee-9ca8-6b95d06dc7f9" providerId="ADAL" clId="{EEA06CB2-82F2-4ED8-9229-4AD4686F732E}" dt="2022-05-16T14:46:57.132" v="4654" actId="164"/>
          <ac:spMkLst>
            <pc:docMk/>
            <pc:sldMk cId="1112513643" sldId="2147375883"/>
            <ac:spMk id="45" creationId="{24D97EBD-F31A-4AE0-A1DD-4B39753C734D}"/>
          </ac:spMkLst>
        </pc:spChg>
        <pc:spChg chg="del mod">
          <ac:chgData name="Pirone, Chiara" userId="d9d5b965-323f-43ee-9ca8-6b95d06dc7f9" providerId="ADAL" clId="{EEA06CB2-82F2-4ED8-9229-4AD4686F732E}" dt="2022-05-16T13:11:17.898" v="4111" actId="478"/>
          <ac:spMkLst>
            <pc:docMk/>
            <pc:sldMk cId="1112513643" sldId="2147375883"/>
            <ac:spMk id="46" creationId="{D17BE752-0765-4C3F-B8E7-276FBDDD232D}"/>
          </ac:spMkLst>
        </pc:spChg>
        <pc:spChg chg="add del mod topLvl">
          <ac:chgData name="Pirone, Chiara" userId="d9d5b965-323f-43ee-9ca8-6b95d06dc7f9" providerId="ADAL" clId="{EEA06CB2-82F2-4ED8-9229-4AD4686F732E}" dt="2022-05-16T13:14:30.377" v="4195" actId="478"/>
          <ac:spMkLst>
            <pc:docMk/>
            <pc:sldMk cId="1112513643" sldId="2147375883"/>
            <ac:spMk id="50" creationId="{3B3FEC4C-3126-4C06-B3C4-4C3E3960F40D}"/>
          </ac:spMkLst>
        </pc:spChg>
        <pc:spChg chg="mod topLvl">
          <ac:chgData name="Pirone, Chiara" userId="d9d5b965-323f-43ee-9ca8-6b95d06dc7f9" providerId="ADAL" clId="{EEA06CB2-82F2-4ED8-9229-4AD4686F732E}" dt="2022-05-16T14:46:51.629" v="4652" actId="164"/>
          <ac:spMkLst>
            <pc:docMk/>
            <pc:sldMk cId="1112513643" sldId="2147375883"/>
            <ac:spMk id="51" creationId="{82658E19-9986-446B-9417-A7C48B7BD4D4}"/>
          </ac:spMkLst>
        </pc:spChg>
        <pc:spChg chg="del mod">
          <ac:chgData name="Pirone, Chiara" userId="d9d5b965-323f-43ee-9ca8-6b95d06dc7f9" providerId="ADAL" clId="{EEA06CB2-82F2-4ED8-9229-4AD4686F732E}" dt="2022-05-16T13:11:10.251" v="4106" actId="478"/>
          <ac:spMkLst>
            <pc:docMk/>
            <pc:sldMk cId="1112513643" sldId="2147375883"/>
            <ac:spMk id="52" creationId="{56C0CCE4-0B8F-4F47-B6A2-8D8AEEB21B52}"/>
          </ac:spMkLst>
        </pc:spChg>
        <pc:spChg chg="del mod topLvl">
          <ac:chgData name="Pirone, Chiara" userId="d9d5b965-323f-43ee-9ca8-6b95d06dc7f9" providerId="ADAL" clId="{EEA06CB2-82F2-4ED8-9229-4AD4686F732E}" dt="2022-05-16T13:14:22.561" v="4191" actId="478"/>
          <ac:spMkLst>
            <pc:docMk/>
            <pc:sldMk cId="1112513643" sldId="2147375883"/>
            <ac:spMk id="56" creationId="{EA520418-99AD-4B8D-9FDB-4D3CD5522C7D}"/>
          </ac:spMkLst>
        </pc:spChg>
        <pc:spChg chg="mod topLvl">
          <ac:chgData name="Pirone, Chiara" userId="d9d5b965-323f-43ee-9ca8-6b95d06dc7f9" providerId="ADAL" clId="{EEA06CB2-82F2-4ED8-9229-4AD4686F732E}" dt="2022-05-16T14:46:42.474" v="4648" actId="164"/>
          <ac:spMkLst>
            <pc:docMk/>
            <pc:sldMk cId="1112513643" sldId="2147375883"/>
            <ac:spMk id="57" creationId="{77CEDDD6-6F0C-4412-A06A-C3C42DE28159}"/>
          </ac:spMkLst>
        </pc:spChg>
        <pc:spChg chg="del mod">
          <ac:chgData name="Pirone, Chiara" userId="d9d5b965-323f-43ee-9ca8-6b95d06dc7f9" providerId="ADAL" clId="{EEA06CB2-82F2-4ED8-9229-4AD4686F732E}" dt="2022-05-16T13:11:12.354" v="4107" actId="478"/>
          <ac:spMkLst>
            <pc:docMk/>
            <pc:sldMk cId="1112513643" sldId="2147375883"/>
            <ac:spMk id="58" creationId="{656FED8A-4E3F-4DC9-9BA1-C2AAAAD764A4}"/>
          </ac:spMkLst>
        </pc:spChg>
        <pc:spChg chg="add del mod ord">
          <ac:chgData name="Pirone, Chiara" userId="d9d5b965-323f-43ee-9ca8-6b95d06dc7f9" providerId="ADAL" clId="{EEA06CB2-82F2-4ED8-9229-4AD4686F732E}" dt="2022-05-16T13:15:44.462" v="4223" actId="478"/>
          <ac:spMkLst>
            <pc:docMk/>
            <pc:sldMk cId="1112513643" sldId="2147375883"/>
            <ac:spMk id="60" creationId="{E984E5CF-B3C9-4155-8ED0-380397AD3ED6}"/>
          </ac:spMkLst>
        </pc:spChg>
        <pc:spChg chg="add mod">
          <ac:chgData name="Pirone, Chiara" userId="d9d5b965-323f-43ee-9ca8-6b95d06dc7f9" providerId="ADAL" clId="{EEA06CB2-82F2-4ED8-9229-4AD4686F732E}" dt="2022-05-16T14:46:38.247" v="4647" actId="164"/>
          <ac:spMkLst>
            <pc:docMk/>
            <pc:sldMk cId="1112513643" sldId="2147375883"/>
            <ac:spMk id="63" creationId="{DEAB9C79-D766-44E2-A506-BCF452E151E8}"/>
          </ac:spMkLst>
        </pc:spChg>
        <pc:spChg chg="add mod">
          <ac:chgData name="Pirone, Chiara" userId="d9d5b965-323f-43ee-9ca8-6b95d06dc7f9" providerId="ADAL" clId="{EEA06CB2-82F2-4ED8-9229-4AD4686F732E}" dt="2022-05-16T14:53:27.621" v="4838" actId="1076"/>
          <ac:spMkLst>
            <pc:docMk/>
            <pc:sldMk cId="1112513643" sldId="2147375883"/>
            <ac:spMk id="75" creationId="{D7ABCDEA-8281-4D1E-AE13-B6E174836BA1}"/>
          </ac:spMkLst>
        </pc:spChg>
        <pc:spChg chg="add del mod">
          <ac:chgData name="Pirone, Chiara" userId="d9d5b965-323f-43ee-9ca8-6b95d06dc7f9" providerId="ADAL" clId="{EEA06CB2-82F2-4ED8-9229-4AD4686F732E}" dt="2022-05-16T14:53:18.735" v="4836" actId="478"/>
          <ac:spMkLst>
            <pc:docMk/>
            <pc:sldMk cId="1112513643" sldId="2147375883"/>
            <ac:spMk id="77" creationId="{1DC24C65-8545-4D63-B9C6-7CD713FD7ECD}"/>
          </ac:spMkLst>
        </pc:spChg>
        <pc:spChg chg="mod">
          <ac:chgData name="Pirone, Chiara" userId="d9d5b965-323f-43ee-9ca8-6b95d06dc7f9" providerId="ADAL" clId="{EEA06CB2-82F2-4ED8-9229-4AD4686F732E}" dt="2022-05-16T14:53:04.827" v="4801" actId="14100"/>
          <ac:spMkLst>
            <pc:docMk/>
            <pc:sldMk cId="1112513643" sldId="2147375883"/>
            <ac:spMk id="135" creationId="{D0E92D22-F886-4F3B-BC90-22ED27E73D53}"/>
          </ac:spMkLst>
        </pc:spChg>
        <pc:spChg chg="add mod">
          <ac:chgData name="Pirone, Chiara" userId="d9d5b965-323f-43ee-9ca8-6b95d06dc7f9" providerId="ADAL" clId="{EEA06CB2-82F2-4ED8-9229-4AD4686F732E}" dt="2022-05-16T14:52:00.893" v="4790" actId="207"/>
          <ac:spMkLst>
            <pc:docMk/>
            <pc:sldMk cId="1112513643" sldId="2147375883"/>
            <ac:spMk id="139" creationId="{2F7FE0C1-EED7-4F51-89A2-51B87569AFCB}"/>
          </ac:spMkLst>
        </pc:spChg>
        <pc:grpChg chg="add del mod">
          <ac:chgData name="Pirone, Chiara" userId="d9d5b965-323f-43ee-9ca8-6b95d06dc7f9" providerId="ADAL" clId="{EEA06CB2-82F2-4ED8-9229-4AD4686F732E}" dt="2022-05-16T13:14:10.988" v="4187" actId="165"/>
          <ac:grpSpMkLst>
            <pc:docMk/>
            <pc:sldMk cId="1112513643" sldId="2147375883"/>
            <ac:grpSpMk id="2" creationId="{75259CC9-DBF9-43D1-9A92-0A3E8082565C}"/>
          </ac:grpSpMkLst>
        </pc:grpChg>
        <pc:grpChg chg="add del mod">
          <ac:chgData name="Pirone, Chiara" userId="d9d5b965-323f-43ee-9ca8-6b95d06dc7f9" providerId="ADAL" clId="{EEA06CB2-82F2-4ED8-9229-4AD4686F732E}" dt="2022-05-16T13:13:12.820" v="4156" actId="165"/>
          <ac:grpSpMkLst>
            <pc:docMk/>
            <pc:sldMk cId="1112513643" sldId="2147375883"/>
            <ac:grpSpMk id="4" creationId="{189FDFF0-3394-4BBB-8A41-1A3B697612FE}"/>
          </ac:grpSpMkLst>
        </pc:grpChg>
        <pc:grpChg chg="add del mod">
          <ac:chgData name="Pirone, Chiara" userId="d9d5b965-323f-43ee-9ca8-6b95d06dc7f9" providerId="ADAL" clId="{EEA06CB2-82F2-4ED8-9229-4AD4686F732E}" dt="2022-05-16T13:13:46.691" v="4165" actId="165"/>
          <ac:grpSpMkLst>
            <pc:docMk/>
            <pc:sldMk cId="1112513643" sldId="2147375883"/>
            <ac:grpSpMk id="5" creationId="{A9547E7C-EDDD-46FA-8442-2C73B4D2ADB2}"/>
          </ac:grpSpMkLst>
        </pc:grpChg>
        <pc:grpChg chg="mod">
          <ac:chgData name="Pirone, Chiara" userId="d9d5b965-323f-43ee-9ca8-6b95d06dc7f9" providerId="ADAL" clId="{EEA06CB2-82F2-4ED8-9229-4AD4686F732E}" dt="2022-05-16T14:53:15.589" v="4835" actId="1037"/>
          <ac:grpSpMkLst>
            <pc:docMk/>
            <pc:sldMk cId="1112513643" sldId="2147375883"/>
            <ac:grpSpMk id="6" creationId="{BF32FD60-266D-4C90-9792-FECEE1E39C64}"/>
          </ac:grpSpMkLst>
        </pc:grpChg>
        <pc:grpChg chg="mod">
          <ac:chgData name="Pirone, Chiara" userId="d9d5b965-323f-43ee-9ca8-6b95d06dc7f9" providerId="ADAL" clId="{EEA06CB2-82F2-4ED8-9229-4AD4686F732E}" dt="2022-05-16T14:53:15.589" v="4835" actId="1037"/>
          <ac:grpSpMkLst>
            <pc:docMk/>
            <pc:sldMk cId="1112513643" sldId="2147375883"/>
            <ac:grpSpMk id="10" creationId="{B91F13C9-017B-426E-8F5C-6CEC016309C8}"/>
          </ac:grpSpMkLst>
        </pc:grpChg>
        <pc:grpChg chg="mod">
          <ac:chgData name="Pirone, Chiara" userId="d9d5b965-323f-43ee-9ca8-6b95d06dc7f9" providerId="ADAL" clId="{EEA06CB2-82F2-4ED8-9229-4AD4686F732E}" dt="2022-05-16T14:53:15.589" v="4835" actId="1037"/>
          <ac:grpSpMkLst>
            <pc:docMk/>
            <pc:sldMk cId="1112513643" sldId="2147375883"/>
            <ac:grpSpMk id="11" creationId="{84699378-FC69-407F-895C-F66163E4EED1}"/>
          </ac:grpSpMkLst>
        </pc:grpChg>
        <pc:grpChg chg="mod">
          <ac:chgData name="Pirone, Chiara" userId="d9d5b965-323f-43ee-9ca8-6b95d06dc7f9" providerId="ADAL" clId="{EEA06CB2-82F2-4ED8-9229-4AD4686F732E}" dt="2022-05-16T14:53:15.589" v="4835" actId="1037"/>
          <ac:grpSpMkLst>
            <pc:docMk/>
            <pc:sldMk cId="1112513643" sldId="2147375883"/>
            <ac:grpSpMk id="15" creationId="{E7FB1059-DDF8-40E3-9368-FD5F25D2C72D}"/>
          </ac:grpSpMkLst>
        </pc:grpChg>
        <pc:grpChg chg="add del">
          <ac:chgData name="Pirone, Chiara" userId="d9d5b965-323f-43ee-9ca8-6b95d06dc7f9" providerId="ADAL" clId="{EEA06CB2-82F2-4ED8-9229-4AD4686F732E}" dt="2022-05-16T13:10:10.483" v="4049" actId="478"/>
          <ac:grpSpMkLst>
            <pc:docMk/>
            <pc:sldMk cId="1112513643" sldId="2147375883"/>
            <ac:grpSpMk id="19" creationId="{F8BBB566-283D-4B3D-A3FE-CAA25BBB35FE}"/>
          </ac:grpSpMkLst>
        </pc:grpChg>
        <pc:grpChg chg="add del mod">
          <ac:chgData name="Pirone, Chiara" userId="d9d5b965-323f-43ee-9ca8-6b95d06dc7f9" providerId="ADAL" clId="{EEA06CB2-82F2-4ED8-9229-4AD4686F732E}" dt="2022-05-16T13:11:25.317" v="4113" actId="165"/>
          <ac:grpSpMkLst>
            <pc:docMk/>
            <pc:sldMk cId="1112513643" sldId="2147375883"/>
            <ac:grpSpMk id="35" creationId="{476BA5F1-992E-42B3-B900-13805BBE3A46}"/>
          </ac:grpSpMkLst>
        </pc:grpChg>
        <pc:grpChg chg="del mod">
          <ac:chgData name="Pirone, Chiara" userId="d9d5b965-323f-43ee-9ca8-6b95d06dc7f9" providerId="ADAL" clId="{EEA06CB2-82F2-4ED8-9229-4AD4686F732E}" dt="2022-05-16T13:11:03.911" v="4103" actId="478"/>
          <ac:grpSpMkLst>
            <pc:docMk/>
            <pc:sldMk cId="1112513643" sldId="2147375883"/>
            <ac:grpSpMk id="38" creationId="{86861569-82E1-4A51-AE4B-D1524E2AABE4}"/>
          </ac:grpSpMkLst>
        </pc:grpChg>
        <pc:grpChg chg="add del mod">
          <ac:chgData name="Pirone, Chiara" userId="d9d5b965-323f-43ee-9ca8-6b95d06dc7f9" providerId="ADAL" clId="{EEA06CB2-82F2-4ED8-9229-4AD4686F732E}" dt="2022-05-16T13:11:25.317" v="4113" actId="165"/>
          <ac:grpSpMkLst>
            <pc:docMk/>
            <pc:sldMk cId="1112513643" sldId="2147375883"/>
            <ac:grpSpMk id="41" creationId="{62B71801-02DB-400A-9A74-C799788B0138}"/>
          </ac:grpSpMkLst>
        </pc:grpChg>
        <pc:grpChg chg="add del mod topLvl">
          <ac:chgData name="Pirone, Chiara" userId="d9d5b965-323f-43ee-9ca8-6b95d06dc7f9" providerId="ADAL" clId="{EEA06CB2-82F2-4ED8-9229-4AD4686F732E}" dt="2022-05-16T13:13:56.173" v="4168" actId="165"/>
          <ac:grpSpMkLst>
            <pc:docMk/>
            <pc:sldMk cId="1112513643" sldId="2147375883"/>
            <ac:grpSpMk id="42" creationId="{E940EF93-A176-4C16-BAA0-111E445D5D24}"/>
          </ac:grpSpMkLst>
        </pc:grpChg>
        <pc:grpChg chg="add del mod">
          <ac:chgData name="Pirone, Chiara" userId="d9d5b965-323f-43ee-9ca8-6b95d06dc7f9" providerId="ADAL" clId="{EEA06CB2-82F2-4ED8-9229-4AD4686F732E}" dt="2022-05-16T13:11:25.317" v="4113" actId="165"/>
          <ac:grpSpMkLst>
            <pc:docMk/>
            <pc:sldMk cId="1112513643" sldId="2147375883"/>
            <ac:grpSpMk id="47" creationId="{1635CADF-88BC-4DE3-9EFF-8B307E65EFC7}"/>
          </ac:grpSpMkLst>
        </pc:grpChg>
        <pc:grpChg chg="add del mod topLvl">
          <ac:chgData name="Pirone, Chiara" userId="d9d5b965-323f-43ee-9ca8-6b95d06dc7f9" providerId="ADAL" clId="{EEA06CB2-82F2-4ED8-9229-4AD4686F732E}" dt="2022-05-16T13:14:24.864" v="4192" actId="165"/>
          <ac:grpSpMkLst>
            <pc:docMk/>
            <pc:sldMk cId="1112513643" sldId="2147375883"/>
            <ac:grpSpMk id="48" creationId="{3F767C7F-F296-4D42-A4AB-4E5693D74B42}"/>
          </ac:grpSpMkLst>
        </pc:grpChg>
        <pc:grpChg chg="add del mod">
          <ac:chgData name="Pirone, Chiara" userId="d9d5b965-323f-43ee-9ca8-6b95d06dc7f9" providerId="ADAL" clId="{EEA06CB2-82F2-4ED8-9229-4AD4686F732E}" dt="2022-05-16T13:11:25.317" v="4113" actId="165"/>
          <ac:grpSpMkLst>
            <pc:docMk/>
            <pc:sldMk cId="1112513643" sldId="2147375883"/>
            <ac:grpSpMk id="53" creationId="{CE91B6F0-D3A4-41A6-ABC3-0B9CF9A0100D}"/>
          </ac:grpSpMkLst>
        </pc:grpChg>
        <pc:grpChg chg="add del mod topLvl">
          <ac:chgData name="Pirone, Chiara" userId="d9d5b965-323f-43ee-9ca8-6b95d06dc7f9" providerId="ADAL" clId="{EEA06CB2-82F2-4ED8-9229-4AD4686F732E}" dt="2022-05-16T13:14:18.415" v="4190" actId="165"/>
          <ac:grpSpMkLst>
            <pc:docMk/>
            <pc:sldMk cId="1112513643" sldId="2147375883"/>
            <ac:grpSpMk id="54" creationId="{C74FF86B-6A7C-44EC-AA17-07FF2B90566B}"/>
          </ac:grpSpMkLst>
        </pc:grpChg>
        <pc:grpChg chg="add del mod">
          <ac:chgData name="Pirone, Chiara" userId="d9d5b965-323f-43ee-9ca8-6b95d06dc7f9" providerId="ADAL" clId="{EEA06CB2-82F2-4ED8-9229-4AD4686F732E}" dt="2022-05-16T13:14:42.044" v="4203" actId="165"/>
          <ac:grpSpMkLst>
            <pc:docMk/>
            <pc:sldMk cId="1112513643" sldId="2147375883"/>
            <ac:grpSpMk id="59" creationId="{57E8F3AF-D03A-4A7F-9EB2-4D2703133B6D}"/>
          </ac:grpSpMkLst>
        </pc:grpChg>
        <pc:grpChg chg="add mod">
          <ac:chgData name="Pirone, Chiara" userId="d9d5b965-323f-43ee-9ca8-6b95d06dc7f9" providerId="ADAL" clId="{EEA06CB2-82F2-4ED8-9229-4AD4686F732E}" dt="2022-05-16T14:53:08.126" v="4810" actId="1038"/>
          <ac:grpSpMkLst>
            <pc:docMk/>
            <pc:sldMk cId="1112513643" sldId="2147375883"/>
            <ac:grpSpMk id="132" creationId="{764D9A22-5D7F-48E3-906F-44A0503AAFD7}"/>
          </ac:grpSpMkLst>
        </pc:grpChg>
        <pc:grpChg chg="add mod">
          <ac:chgData name="Pirone, Chiara" userId="d9d5b965-323f-43ee-9ca8-6b95d06dc7f9" providerId="ADAL" clId="{EEA06CB2-82F2-4ED8-9229-4AD4686F732E}" dt="2022-05-16T14:53:08.126" v="4810" actId="1038"/>
          <ac:grpSpMkLst>
            <pc:docMk/>
            <pc:sldMk cId="1112513643" sldId="2147375883"/>
            <ac:grpSpMk id="133" creationId="{9543AC56-C033-4CC5-8926-496C0ED3E260}"/>
          </ac:grpSpMkLst>
        </pc:grpChg>
        <pc:grpChg chg="add mod">
          <ac:chgData name="Pirone, Chiara" userId="d9d5b965-323f-43ee-9ca8-6b95d06dc7f9" providerId="ADAL" clId="{EEA06CB2-82F2-4ED8-9229-4AD4686F732E}" dt="2022-05-16T14:53:08.126" v="4810" actId="1038"/>
          <ac:grpSpMkLst>
            <pc:docMk/>
            <pc:sldMk cId="1112513643" sldId="2147375883"/>
            <ac:grpSpMk id="134" creationId="{FB0410C5-AF9A-435A-A2FD-25CB690886E4}"/>
          </ac:grpSpMkLst>
        </pc:grpChg>
        <pc:grpChg chg="add mod">
          <ac:chgData name="Pirone, Chiara" userId="d9d5b965-323f-43ee-9ca8-6b95d06dc7f9" providerId="ADAL" clId="{EEA06CB2-82F2-4ED8-9229-4AD4686F732E}" dt="2022-05-16T14:53:08.126" v="4810" actId="1038"/>
          <ac:grpSpMkLst>
            <pc:docMk/>
            <pc:sldMk cId="1112513643" sldId="2147375883"/>
            <ac:grpSpMk id="136" creationId="{EB9A5379-5084-4445-8FC6-ACC65D39BEE3}"/>
          </ac:grpSpMkLst>
        </pc:grpChg>
        <pc:grpChg chg="add mod">
          <ac:chgData name="Pirone, Chiara" userId="d9d5b965-323f-43ee-9ca8-6b95d06dc7f9" providerId="ADAL" clId="{EEA06CB2-82F2-4ED8-9229-4AD4686F732E}" dt="2022-05-16T14:53:08.126" v="4810" actId="1038"/>
          <ac:grpSpMkLst>
            <pc:docMk/>
            <pc:sldMk cId="1112513643" sldId="2147375883"/>
            <ac:grpSpMk id="138" creationId="{AEB05336-CEA0-4226-994B-243432E1F4E9}"/>
          </ac:grpSpMkLst>
        </pc:grpChg>
        <pc:picChg chg="mod">
          <ac:chgData name="Pirone, Chiara" userId="d9d5b965-323f-43ee-9ca8-6b95d06dc7f9" providerId="ADAL" clId="{EEA06CB2-82F2-4ED8-9229-4AD4686F732E}" dt="2022-05-16T14:53:15.589" v="4835" actId="1037"/>
          <ac:picMkLst>
            <pc:docMk/>
            <pc:sldMk cId="1112513643" sldId="2147375883"/>
            <ac:picMk id="7" creationId="{4F04CD6B-0720-43DF-8015-4AAA498E1A93}"/>
          </ac:picMkLst>
        </pc:picChg>
        <pc:picChg chg="mod">
          <ac:chgData name="Pirone, Chiara" userId="d9d5b965-323f-43ee-9ca8-6b95d06dc7f9" providerId="ADAL" clId="{EEA06CB2-82F2-4ED8-9229-4AD4686F732E}" dt="2022-05-16T14:53:15.589" v="4835" actId="1037"/>
          <ac:picMkLst>
            <pc:docMk/>
            <pc:sldMk cId="1112513643" sldId="2147375883"/>
            <ac:picMk id="13" creationId="{0F1A4FDD-E3B5-4122-893F-81AA720D69AB}"/>
          </ac:picMkLst>
        </pc:picChg>
        <pc:picChg chg="mod">
          <ac:chgData name="Pirone, Chiara" userId="d9d5b965-323f-43ee-9ca8-6b95d06dc7f9" providerId="ADAL" clId="{EEA06CB2-82F2-4ED8-9229-4AD4686F732E}" dt="2022-05-16T14:53:15.589" v="4835" actId="1037"/>
          <ac:picMkLst>
            <pc:docMk/>
            <pc:sldMk cId="1112513643" sldId="2147375883"/>
            <ac:picMk id="16" creationId="{F0FC644D-1410-469F-BF8D-11C54CDB707A}"/>
          </ac:picMkLst>
        </pc:picChg>
        <pc:picChg chg="add del mod">
          <ac:chgData name="Pirone, Chiara" userId="d9d5b965-323f-43ee-9ca8-6b95d06dc7f9" providerId="ADAL" clId="{EEA06CB2-82F2-4ED8-9229-4AD4686F732E}" dt="2022-05-16T14:53:02.723" v="4800" actId="14100"/>
          <ac:picMkLst>
            <pc:docMk/>
            <pc:sldMk cId="1112513643" sldId="2147375883"/>
            <ac:picMk id="34" creationId="{E1BA6F11-CA71-4CEA-9B13-05187E9ACFF4}"/>
          </ac:picMkLst>
        </pc:picChg>
        <pc:picChg chg="mod topLvl">
          <ac:chgData name="Pirone, Chiara" userId="d9d5b965-323f-43ee-9ca8-6b95d06dc7f9" providerId="ADAL" clId="{EEA06CB2-82F2-4ED8-9229-4AD4686F732E}" dt="2022-05-16T14:46:42.474" v="4648" actId="164"/>
          <ac:picMkLst>
            <pc:docMk/>
            <pc:sldMk cId="1112513643" sldId="2147375883"/>
            <ac:picMk id="40" creationId="{EE105EAA-FF27-4638-8E65-7025B50AF108}"/>
          </ac:picMkLst>
        </pc:picChg>
        <pc:picChg chg="add del mod topLvl">
          <ac:chgData name="Pirone, Chiara" userId="d9d5b965-323f-43ee-9ca8-6b95d06dc7f9" providerId="ADAL" clId="{EEA06CB2-82F2-4ED8-9229-4AD4686F732E}" dt="2022-05-16T14:42:08.621" v="4509" actId="478"/>
          <ac:picMkLst>
            <pc:docMk/>
            <pc:sldMk cId="1112513643" sldId="2147375883"/>
            <ac:picMk id="43" creationId="{6D6ADAE0-7D62-481C-A89D-27B3C9A289D3}"/>
          </ac:picMkLst>
        </pc:picChg>
        <pc:picChg chg="mod topLvl">
          <ac:chgData name="Pirone, Chiara" userId="d9d5b965-323f-43ee-9ca8-6b95d06dc7f9" providerId="ADAL" clId="{EEA06CB2-82F2-4ED8-9229-4AD4686F732E}" dt="2022-05-16T14:46:51.629" v="4652" actId="164"/>
          <ac:picMkLst>
            <pc:docMk/>
            <pc:sldMk cId="1112513643" sldId="2147375883"/>
            <ac:picMk id="49" creationId="{FC9CBA6D-2F36-4886-9637-8A55FD47C9C0}"/>
          </ac:picMkLst>
        </pc:picChg>
        <pc:picChg chg="del mod topLvl">
          <ac:chgData name="Pirone, Chiara" userId="d9d5b965-323f-43ee-9ca8-6b95d06dc7f9" providerId="ADAL" clId="{EEA06CB2-82F2-4ED8-9229-4AD4686F732E}" dt="2022-05-16T14:41:21.351" v="4484" actId="478"/>
          <ac:picMkLst>
            <pc:docMk/>
            <pc:sldMk cId="1112513643" sldId="2147375883"/>
            <ac:picMk id="55" creationId="{DCBEA19D-6553-411C-A36B-0B915CA1C015}"/>
          </ac:picMkLst>
        </pc:picChg>
        <pc:picChg chg="add mod">
          <ac:chgData name="Pirone, Chiara" userId="d9d5b965-323f-43ee-9ca8-6b95d06dc7f9" providerId="ADAL" clId="{EEA06CB2-82F2-4ED8-9229-4AD4686F732E}" dt="2022-05-16T14:46:47.285" v="4650" actId="164"/>
          <ac:picMkLst>
            <pc:docMk/>
            <pc:sldMk cId="1112513643" sldId="2147375883"/>
            <ac:picMk id="62" creationId="{D717F3BF-B3C5-4C57-B6B0-8D714E60FDA8}"/>
          </ac:picMkLst>
        </pc:picChg>
        <pc:picChg chg="add mod">
          <ac:chgData name="Pirone, Chiara" userId="d9d5b965-323f-43ee-9ca8-6b95d06dc7f9" providerId="ADAL" clId="{EEA06CB2-82F2-4ED8-9229-4AD4686F732E}" dt="2022-05-16T14:46:57.132" v="4654" actId="164"/>
          <ac:picMkLst>
            <pc:docMk/>
            <pc:sldMk cId="1112513643" sldId="2147375883"/>
            <ac:picMk id="129" creationId="{EBA5C744-4440-4F11-A04D-B2EB50F55620}"/>
          </ac:picMkLst>
        </pc:picChg>
        <pc:picChg chg="add mod">
          <ac:chgData name="Pirone, Chiara" userId="d9d5b965-323f-43ee-9ca8-6b95d06dc7f9" providerId="ADAL" clId="{EEA06CB2-82F2-4ED8-9229-4AD4686F732E}" dt="2022-05-16T14:46:38.247" v="4647" actId="164"/>
          <ac:picMkLst>
            <pc:docMk/>
            <pc:sldMk cId="1112513643" sldId="2147375883"/>
            <ac:picMk id="131" creationId="{7C88A16A-74D9-4B35-8891-C633B44FA41E}"/>
          </ac:picMkLst>
        </pc:picChg>
      </pc:sldChg>
      <pc:sldChg chg="add del">
        <pc:chgData name="Pirone, Chiara" userId="d9d5b965-323f-43ee-9ca8-6b95d06dc7f9" providerId="ADAL" clId="{EEA06CB2-82F2-4ED8-9229-4AD4686F732E}" dt="2022-05-17T08:09:27.529" v="5407" actId="47"/>
        <pc:sldMkLst>
          <pc:docMk/>
          <pc:sldMk cId="650994315" sldId="2147375884"/>
        </pc:sldMkLst>
      </pc:sldChg>
      <pc:sldChg chg="addSp delSp modSp add mod ord modShow">
        <pc:chgData name="Pirone, Chiara" userId="d9d5b965-323f-43ee-9ca8-6b95d06dc7f9" providerId="ADAL" clId="{EEA06CB2-82F2-4ED8-9229-4AD4686F732E}" dt="2022-05-17T10:48:36.460" v="6988"/>
        <pc:sldMkLst>
          <pc:docMk/>
          <pc:sldMk cId="3817626696" sldId="2147375884"/>
        </pc:sldMkLst>
        <pc:spChg chg="mod ord topLvl">
          <ac:chgData name="Pirone, Chiara" userId="d9d5b965-323f-43ee-9ca8-6b95d06dc7f9" providerId="ADAL" clId="{EEA06CB2-82F2-4ED8-9229-4AD4686F732E}" dt="2022-05-17T09:29:28.406" v="5504" actId="167"/>
          <ac:spMkLst>
            <pc:docMk/>
            <pc:sldMk cId="3817626696" sldId="2147375884"/>
            <ac:spMk id="2" creationId="{DF8F6795-9B1B-4285-8E18-7B62D6B3DCDF}"/>
          </ac:spMkLst>
        </pc:spChg>
        <pc:spChg chg="add del">
          <ac:chgData name="Pirone, Chiara" userId="d9d5b965-323f-43ee-9ca8-6b95d06dc7f9" providerId="ADAL" clId="{EEA06CB2-82F2-4ED8-9229-4AD4686F732E}" dt="2022-05-17T09:42:43.389" v="5681" actId="22"/>
          <ac:spMkLst>
            <pc:docMk/>
            <pc:sldMk cId="3817626696" sldId="2147375884"/>
            <ac:spMk id="30" creationId="{B4F26F93-52E7-4B16-AF02-D16FE92DE973}"/>
          </ac:spMkLst>
        </pc:spChg>
        <pc:spChg chg="mod ord topLvl">
          <ac:chgData name="Pirone, Chiara" userId="d9d5b965-323f-43ee-9ca8-6b95d06dc7f9" providerId="ADAL" clId="{EEA06CB2-82F2-4ED8-9229-4AD4686F732E}" dt="2022-05-17T09:34:48.651" v="5564" actId="1037"/>
          <ac:spMkLst>
            <pc:docMk/>
            <pc:sldMk cId="3817626696" sldId="2147375884"/>
            <ac:spMk id="40" creationId="{91A4E1C7-FC60-4B58-860E-5A2C11150D44}"/>
          </ac:spMkLst>
        </pc:spChg>
        <pc:spChg chg="mod ord topLvl">
          <ac:chgData name="Pirone, Chiara" userId="d9d5b965-323f-43ee-9ca8-6b95d06dc7f9" providerId="ADAL" clId="{EEA06CB2-82F2-4ED8-9229-4AD4686F732E}" dt="2022-05-17T09:32:15.279" v="5533" actId="167"/>
          <ac:spMkLst>
            <pc:docMk/>
            <pc:sldMk cId="3817626696" sldId="2147375884"/>
            <ac:spMk id="41" creationId="{AEBEBE2C-FB00-4F4B-8773-9A0C3ECB8F7B}"/>
          </ac:spMkLst>
        </pc:spChg>
        <pc:spChg chg="mod topLvl">
          <ac:chgData name="Pirone, Chiara" userId="d9d5b965-323f-43ee-9ca8-6b95d06dc7f9" providerId="ADAL" clId="{EEA06CB2-82F2-4ED8-9229-4AD4686F732E}" dt="2022-05-17T09:41:49.151" v="5592" actId="3062"/>
          <ac:spMkLst>
            <pc:docMk/>
            <pc:sldMk cId="3817626696" sldId="2147375884"/>
            <ac:spMk id="42" creationId="{FBEFEACC-CE41-4024-9DF4-050FD5D887EA}"/>
          </ac:spMkLst>
        </pc:spChg>
        <pc:spChg chg="mod topLvl">
          <ac:chgData name="Pirone, Chiara" userId="d9d5b965-323f-43ee-9ca8-6b95d06dc7f9" providerId="ADAL" clId="{EEA06CB2-82F2-4ED8-9229-4AD4686F732E}" dt="2022-05-17T09:41:49.151" v="5592" actId="3062"/>
          <ac:spMkLst>
            <pc:docMk/>
            <pc:sldMk cId="3817626696" sldId="2147375884"/>
            <ac:spMk id="43" creationId="{10F4A610-B698-45EC-8264-BBE7FA4725E5}"/>
          </ac:spMkLst>
        </pc:spChg>
        <pc:spChg chg="mod topLvl">
          <ac:chgData name="Pirone, Chiara" userId="d9d5b965-323f-43ee-9ca8-6b95d06dc7f9" providerId="ADAL" clId="{EEA06CB2-82F2-4ED8-9229-4AD4686F732E}" dt="2022-05-17T09:41:49.151" v="5592" actId="3062"/>
          <ac:spMkLst>
            <pc:docMk/>
            <pc:sldMk cId="3817626696" sldId="2147375884"/>
            <ac:spMk id="44" creationId="{A3A93D49-9F32-445B-AB16-E49B5A3CE118}"/>
          </ac:spMkLst>
        </pc:spChg>
        <pc:spChg chg="mod topLvl">
          <ac:chgData name="Pirone, Chiara" userId="d9d5b965-323f-43ee-9ca8-6b95d06dc7f9" providerId="ADAL" clId="{EEA06CB2-82F2-4ED8-9229-4AD4686F732E}" dt="2022-05-17T09:41:49.151" v="5592" actId="3062"/>
          <ac:spMkLst>
            <pc:docMk/>
            <pc:sldMk cId="3817626696" sldId="2147375884"/>
            <ac:spMk id="45" creationId="{8733367B-0B23-449D-B451-704760530981}"/>
          </ac:spMkLst>
        </pc:spChg>
        <pc:spChg chg="mod topLvl">
          <ac:chgData name="Pirone, Chiara" userId="d9d5b965-323f-43ee-9ca8-6b95d06dc7f9" providerId="ADAL" clId="{EEA06CB2-82F2-4ED8-9229-4AD4686F732E}" dt="2022-05-17T09:41:49.151" v="5592" actId="3062"/>
          <ac:spMkLst>
            <pc:docMk/>
            <pc:sldMk cId="3817626696" sldId="2147375884"/>
            <ac:spMk id="46" creationId="{13588159-4B90-4DD1-B24D-EEEAF01A68C5}"/>
          </ac:spMkLst>
        </pc:spChg>
        <pc:spChg chg="mod topLvl">
          <ac:chgData name="Pirone, Chiara" userId="d9d5b965-323f-43ee-9ca8-6b95d06dc7f9" providerId="ADAL" clId="{EEA06CB2-82F2-4ED8-9229-4AD4686F732E}" dt="2022-05-17T09:41:49.151" v="5592" actId="3062"/>
          <ac:spMkLst>
            <pc:docMk/>
            <pc:sldMk cId="3817626696" sldId="2147375884"/>
            <ac:spMk id="47" creationId="{7933956A-EAA4-4B69-B874-7D9FC0D6C41F}"/>
          </ac:spMkLst>
        </pc:spChg>
        <pc:grpChg chg="del">
          <ac:chgData name="Pirone, Chiara" userId="d9d5b965-323f-43ee-9ca8-6b95d06dc7f9" providerId="ADAL" clId="{EEA06CB2-82F2-4ED8-9229-4AD4686F732E}" dt="2022-05-17T09:29:09.810" v="5480" actId="165"/>
          <ac:grpSpMkLst>
            <pc:docMk/>
            <pc:sldMk cId="3817626696" sldId="2147375884"/>
            <ac:grpSpMk id="5" creationId="{611140A0-FFF7-4609-BFA2-B93A5AF5AC67}"/>
          </ac:grpSpMkLst>
        </pc:grpChg>
        <pc:picChg chg="del">
          <ac:chgData name="Pirone, Chiara" userId="d9d5b965-323f-43ee-9ca8-6b95d06dc7f9" providerId="ADAL" clId="{EEA06CB2-82F2-4ED8-9229-4AD4686F732E}" dt="2022-05-17T09:29:07.487" v="5479" actId="478"/>
          <ac:picMkLst>
            <pc:docMk/>
            <pc:sldMk cId="3817626696" sldId="2147375884"/>
            <ac:picMk id="49" creationId="{350BA735-72B7-4770-AF84-09C7ED695CCF}"/>
          </ac:picMkLst>
        </pc:picChg>
        <pc:picChg chg="del">
          <ac:chgData name="Pirone, Chiara" userId="d9d5b965-323f-43ee-9ca8-6b95d06dc7f9" providerId="ADAL" clId="{EEA06CB2-82F2-4ED8-9229-4AD4686F732E}" dt="2022-05-17T09:29:33.511" v="5506" actId="478"/>
          <ac:picMkLst>
            <pc:docMk/>
            <pc:sldMk cId="3817626696" sldId="2147375884"/>
            <ac:picMk id="50" creationId="{72B26724-6943-40F0-8B9F-DA7D3F7BC8CB}"/>
          </ac:picMkLst>
        </pc:picChg>
        <pc:picChg chg="del">
          <ac:chgData name="Pirone, Chiara" userId="d9d5b965-323f-43ee-9ca8-6b95d06dc7f9" providerId="ADAL" clId="{EEA06CB2-82F2-4ED8-9229-4AD4686F732E}" dt="2022-05-17T09:32:17.043" v="5534" actId="478"/>
          <ac:picMkLst>
            <pc:docMk/>
            <pc:sldMk cId="3817626696" sldId="2147375884"/>
            <ac:picMk id="51" creationId="{FF91D1A3-39B4-4FF6-8303-9CD01B8FB8B1}"/>
          </ac:picMkLst>
        </pc:picChg>
        <pc:picChg chg="del mod topLvl">
          <ac:chgData name="Pirone, Chiara" userId="d9d5b965-323f-43ee-9ca8-6b95d06dc7f9" providerId="ADAL" clId="{EEA06CB2-82F2-4ED8-9229-4AD4686F732E}" dt="2022-05-17T09:30:24.246" v="5513" actId="478"/>
          <ac:picMkLst>
            <pc:docMk/>
            <pc:sldMk cId="3817626696" sldId="2147375884"/>
            <ac:picMk id="52" creationId="{BDF065DC-5D42-4FBC-BB65-2FD0390F3917}"/>
          </ac:picMkLst>
        </pc:picChg>
        <pc:picChg chg="del mod topLvl">
          <ac:chgData name="Pirone, Chiara" userId="d9d5b965-323f-43ee-9ca8-6b95d06dc7f9" providerId="ADAL" clId="{EEA06CB2-82F2-4ED8-9229-4AD4686F732E}" dt="2022-05-17T09:30:25.696" v="5514" actId="478"/>
          <ac:picMkLst>
            <pc:docMk/>
            <pc:sldMk cId="3817626696" sldId="2147375884"/>
            <ac:picMk id="53" creationId="{36ED5FFE-5CC5-48F6-8057-37A4B1CCD583}"/>
          </ac:picMkLst>
        </pc:picChg>
        <pc:picChg chg="del mod topLvl">
          <ac:chgData name="Pirone, Chiara" userId="d9d5b965-323f-43ee-9ca8-6b95d06dc7f9" providerId="ADAL" clId="{EEA06CB2-82F2-4ED8-9229-4AD4686F732E}" dt="2022-05-17T09:30:26.454" v="5515" actId="478"/>
          <ac:picMkLst>
            <pc:docMk/>
            <pc:sldMk cId="3817626696" sldId="2147375884"/>
            <ac:picMk id="54" creationId="{5CF11B44-4A68-47EF-A9B6-5EC326733715}"/>
          </ac:picMkLst>
        </pc:picChg>
        <pc:picChg chg="add del">
          <ac:chgData name="Pirone, Chiara" userId="d9d5b965-323f-43ee-9ca8-6b95d06dc7f9" providerId="ADAL" clId="{EEA06CB2-82F2-4ED8-9229-4AD4686F732E}" dt="2022-05-17T09:32:34.011" v="5536" actId="478"/>
          <ac:picMkLst>
            <pc:docMk/>
            <pc:sldMk cId="3817626696" sldId="2147375884"/>
            <ac:picMk id="136" creationId="{F59F0E29-A8B0-469E-85B4-66652E149CD6}"/>
          </ac:picMkLst>
        </pc:picChg>
        <pc:picChg chg="add mod">
          <ac:chgData name="Pirone, Chiara" userId="d9d5b965-323f-43ee-9ca8-6b95d06dc7f9" providerId="ADAL" clId="{EEA06CB2-82F2-4ED8-9229-4AD4686F732E}" dt="2022-05-17T09:51:35.364" v="5806" actId="1076"/>
          <ac:picMkLst>
            <pc:docMk/>
            <pc:sldMk cId="3817626696" sldId="2147375884"/>
            <ac:picMk id="2050" creationId="{ED545B77-5C26-44CA-AE20-36956779F064}"/>
          </ac:picMkLst>
        </pc:picChg>
        <pc:picChg chg="add mod">
          <ac:chgData name="Pirone, Chiara" userId="d9d5b965-323f-43ee-9ca8-6b95d06dc7f9" providerId="ADAL" clId="{EEA06CB2-82F2-4ED8-9229-4AD4686F732E}" dt="2022-05-17T09:42:13.101" v="5626"/>
          <ac:picMkLst>
            <pc:docMk/>
            <pc:sldMk cId="3817626696" sldId="2147375884"/>
            <ac:picMk id="2052" creationId="{A8F46D96-DDE9-47F2-8725-58AC3EC7DF68}"/>
          </ac:picMkLst>
        </pc:picChg>
        <pc:picChg chg="add mod">
          <ac:chgData name="Pirone, Chiara" userId="d9d5b965-323f-43ee-9ca8-6b95d06dc7f9" providerId="ADAL" clId="{EEA06CB2-82F2-4ED8-9229-4AD4686F732E}" dt="2022-05-17T09:42:21.629" v="5660"/>
          <ac:picMkLst>
            <pc:docMk/>
            <pc:sldMk cId="3817626696" sldId="2147375884"/>
            <ac:picMk id="2054" creationId="{55313BE1-0428-4DB9-A746-414D2DD498B5}"/>
          </ac:picMkLst>
        </pc:picChg>
        <pc:picChg chg="add mod">
          <ac:chgData name="Pirone, Chiara" userId="d9d5b965-323f-43ee-9ca8-6b95d06dc7f9" providerId="ADAL" clId="{EEA06CB2-82F2-4ED8-9229-4AD4686F732E}" dt="2022-05-17T09:42:07.451" v="5608"/>
          <ac:picMkLst>
            <pc:docMk/>
            <pc:sldMk cId="3817626696" sldId="2147375884"/>
            <ac:picMk id="2056" creationId="{759A92D8-11E1-46AF-8160-CC6A7796ACC9}"/>
          </ac:picMkLst>
        </pc:picChg>
        <pc:picChg chg="add mod">
          <ac:chgData name="Pirone, Chiara" userId="d9d5b965-323f-43ee-9ca8-6b95d06dc7f9" providerId="ADAL" clId="{EEA06CB2-82F2-4ED8-9229-4AD4686F732E}" dt="2022-05-17T09:42:28.806" v="5674"/>
          <ac:picMkLst>
            <pc:docMk/>
            <pc:sldMk cId="3817626696" sldId="2147375884"/>
            <ac:picMk id="2058" creationId="{48BB27B8-2A4A-4B69-B623-94451CE62066}"/>
          </ac:picMkLst>
        </pc:picChg>
        <pc:picChg chg="add mod">
          <ac:chgData name="Pirone, Chiara" userId="d9d5b965-323f-43ee-9ca8-6b95d06dc7f9" providerId="ADAL" clId="{EEA06CB2-82F2-4ED8-9229-4AD4686F732E}" dt="2022-05-17T09:42:17.317" v="5647"/>
          <ac:picMkLst>
            <pc:docMk/>
            <pc:sldMk cId="3817626696" sldId="2147375884"/>
            <ac:picMk id="2060" creationId="{17CBB850-D2D6-4EA2-85DA-B82C129C0AB9}"/>
          </ac:picMkLst>
        </pc:picChg>
      </pc:sldChg>
      <pc:sldChg chg="addSp delSp modSp add mod ord modShow">
        <pc:chgData name="Pirone, Chiara" userId="d9d5b965-323f-43ee-9ca8-6b95d06dc7f9" providerId="ADAL" clId="{EEA06CB2-82F2-4ED8-9229-4AD4686F732E}" dt="2022-05-17T10:38:15.409" v="6751"/>
        <pc:sldMkLst>
          <pc:docMk/>
          <pc:sldMk cId="95605179" sldId="2147375885"/>
        </pc:sldMkLst>
        <pc:spChg chg="add mod">
          <ac:chgData name="Pirone, Chiara" userId="d9d5b965-323f-43ee-9ca8-6b95d06dc7f9" providerId="ADAL" clId="{EEA06CB2-82F2-4ED8-9229-4AD4686F732E}" dt="2022-05-17T09:47:48.432" v="5793" actId="2085"/>
          <ac:spMkLst>
            <pc:docMk/>
            <pc:sldMk cId="95605179" sldId="2147375885"/>
            <ac:spMk id="22" creationId="{CD472400-E482-4272-84C4-5F195AA75775}"/>
          </ac:spMkLst>
        </pc:spChg>
        <pc:spChg chg="add mod">
          <ac:chgData name="Pirone, Chiara" userId="d9d5b965-323f-43ee-9ca8-6b95d06dc7f9" providerId="ADAL" clId="{EEA06CB2-82F2-4ED8-9229-4AD4686F732E}" dt="2022-05-17T09:47:50.777" v="5794" actId="2085"/>
          <ac:spMkLst>
            <pc:docMk/>
            <pc:sldMk cId="95605179" sldId="2147375885"/>
            <ac:spMk id="23" creationId="{0D82A80A-159E-4CF9-82FB-14A8070EA235}"/>
          </ac:spMkLst>
        </pc:spChg>
        <pc:spChg chg="add mod">
          <ac:chgData name="Pirone, Chiara" userId="d9d5b965-323f-43ee-9ca8-6b95d06dc7f9" providerId="ADAL" clId="{EEA06CB2-82F2-4ED8-9229-4AD4686F732E}" dt="2022-05-17T09:47:50.777" v="5794" actId="2085"/>
          <ac:spMkLst>
            <pc:docMk/>
            <pc:sldMk cId="95605179" sldId="2147375885"/>
            <ac:spMk id="24" creationId="{12A5A464-73D5-4732-B0CC-FD7F00702EAE}"/>
          </ac:spMkLst>
        </pc:spChg>
        <pc:spChg chg="add mod">
          <ac:chgData name="Pirone, Chiara" userId="d9d5b965-323f-43ee-9ca8-6b95d06dc7f9" providerId="ADAL" clId="{EEA06CB2-82F2-4ED8-9229-4AD4686F732E}" dt="2022-05-17T09:48:41.941" v="5800" actId="108"/>
          <ac:spMkLst>
            <pc:docMk/>
            <pc:sldMk cId="95605179" sldId="2147375885"/>
            <ac:spMk id="25" creationId="{22AAC664-C88C-4B34-A15A-80908AB37E60}"/>
          </ac:spMkLst>
        </pc:spChg>
        <pc:spChg chg="add mod">
          <ac:chgData name="Pirone, Chiara" userId="d9d5b965-323f-43ee-9ca8-6b95d06dc7f9" providerId="ADAL" clId="{EEA06CB2-82F2-4ED8-9229-4AD4686F732E}" dt="2022-05-17T09:48:37.147" v="5799" actId="207"/>
          <ac:spMkLst>
            <pc:docMk/>
            <pc:sldMk cId="95605179" sldId="2147375885"/>
            <ac:spMk id="26" creationId="{D247C535-00C1-420A-8CA2-1DCFCBD51AD5}"/>
          </ac:spMkLst>
        </pc:spChg>
        <pc:spChg chg="add mod">
          <ac:chgData name="Pirone, Chiara" userId="d9d5b965-323f-43ee-9ca8-6b95d06dc7f9" providerId="ADAL" clId="{EEA06CB2-82F2-4ED8-9229-4AD4686F732E}" dt="2022-05-17T09:47:52.416" v="5795" actId="2085"/>
          <ac:spMkLst>
            <pc:docMk/>
            <pc:sldMk cId="95605179" sldId="2147375885"/>
            <ac:spMk id="27" creationId="{0AB3F528-0365-4CA6-AEFD-A37DD9D7D8EF}"/>
          </ac:spMkLst>
        </pc:spChg>
        <pc:spChg chg="mod">
          <ac:chgData name="Pirone, Chiara" userId="d9d5b965-323f-43ee-9ca8-6b95d06dc7f9" providerId="ADAL" clId="{EEA06CB2-82F2-4ED8-9229-4AD4686F732E}" dt="2022-05-17T10:08:36.753" v="6399" actId="1076"/>
          <ac:spMkLst>
            <pc:docMk/>
            <pc:sldMk cId="95605179" sldId="2147375885"/>
            <ac:spMk id="42" creationId="{FBEFEACC-CE41-4024-9DF4-050FD5D887EA}"/>
          </ac:spMkLst>
        </pc:spChg>
        <pc:spChg chg="mod">
          <ac:chgData name="Pirone, Chiara" userId="d9d5b965-323f-43ee-9ca8-6b95d06dc7f9" providerId="ADAL" clId="{EEA06CB2-82F2-4ED8-9229-4AD4686F732E}" dt="2022-05-17T10:13:46.248" v="6422" actId="1076"/>
          <ac:spMkLst>
            <pc:docMk/>
            <pc:sldMk cId="95605179" sldId="2147375885"/>
            <ac:spMk id="43" creationId="{10F4A610-B698-45EC-8264-BBE7FA4725E5}"/>
          </ac:spMkLst>
        </pc:spChg>
        <pc:spChg chg="mod">
          <ac:chgData name="Pirone, Chiara" userId="d9d5b965-323f-43ee-9ca8-6b95d06dc7f9" providerId="ADAL" clId="{EEA06CB2-82F2-4ED8-9229-4AD4686F732E}" dt="2022-05-17T10:16:03.525" v="6469" actId="1076"/>
          <ac:spMkLst>
            <pc:docMk/>
            <pc:sldMk cId="95605179" sldId="2147375885"/>
            <ac:spMk id="44" creationId="{A3A93D49-9F32-445B-AB16-E49B5A3CE118}"/>
          </ac:spMkLst>
        </pc:spChg>
        <pc:spChg chg="mod">
          <ac:chgData name="Pirone, Chiara" userId="d9d5b965-323f-43ee-9ca8-6b95d06dc7f9" providerId="ADAL" clId="{EEA06CB2-82F2-4ED8-9229-4AD4686F732E}" dt="2022-05-17T10:17:26.193" v="6480" actId="1076"/>
          <ac:spMkLst>
            <pc:docMk/>
            <pc:sldMk cId="95605179" sldId="2147375885"/>
            <ac:spMk id="45" creationId="{8733367B-0B23-449D-B451-704760530981}"/>
          </ac:spMkLst>
        </pc:spChg>
        <pc:spChg chg="mod">
          <ac:chgData name="Pirone, Chiara" userId="d9d5b965-323f-43ee-9ca8-6b95d06dc7f9" providerId="ADAL" clId="{EEA06CB2-82F2-4ED8-9229-4AD4686F732E}" dt="2022-05-17T10:19:46.160" v="6492" actId="1076"/>
          <ac:spMkLst>
            <pc:docMk/>
            <pc:sldMk cId="95605179" sldId="2147375885"/>
            <ac:spMk id="46" creationId="{13588159-4B90-4DD1-B24D-EEEAF01A68C5}"/>
          </ac:spMkLst>
        </pc:spChg>
        <pc:spChg chg="mod">
          <ac:chgData name="Pirone, Chiara" userId="d9d5b965-323f-43ee-9ca8-6b95d06dc7f9" providerId="ADAL" clId="{EEA06CB2-82F2-4ED8-9229-4AD4686F732E}" dt="2022-05-17T10:20:30.131" v="6503" actId="1076"/>
          <ac:spMkLst>
            <pc:docMk/>
            <pc:sldMk cId="95605179" sldId="2147375885"/>
            <ac:spMk id="47" creationId="{7933956A-EAA4-4B69-B874-7D9FC0D6C41F}"/>
          </ac:spMkLst>
        </pc:spChg>
        <pc:picChg chg="del mod">
          <ac:chgData name="Pirone, Chiara" userId="d9d5b965-323f-43ee-9ca8-6b95d06dc7f9" providerId="ADAL" clId="{EEA06CB2-82F2-4ED8-9229-4AD4686F732E}" dt="2022-05-17T10:08:39.023" v="6401" actId="21"/>
          <ac:picMkLst>
            <pc:docMk/>
            <pc:sldMk cId="95605179" sldId="2147375885"/>
            <ac:picMk id="2050" creationId="{ED545B77-5C26-44CA-AE20-36956779F064}"/>
          </ac:picMkLst>
        </pc:picChg>
        <pc:picChg chg="del mod">
          <ac:chgData name="Pirone, Chiara" userId="d9d5b965-323f-43ee-9ca8-6b95d06dc7f9" providerId="ADAL" clId="{EEA06CB2-82F2-4ED8-9229-4AD4686F732E}" dt="2022-05-17T10:13:47.923" v="6424" actId="21"/>
          <ac:picMkLst>
            <pc:docMk/>
            <pc:sldMk cId="95605179" sldId="2147375885"/>
            <ac:picMk id="2052" creationId="{A8F46D96-DDE9-47F2-8725-58AC3EC7DF68}"/>
          </ac:picMkLst>
        </pc:picChg>
        <pc:picChg chg="del">
          <ac:chgData name="Pirone, Chiara" userId="d9d5b965-323f-43ee-9ca8-6b95d06dc7f9" providerId="ADAL" clId="{EEA06CB2-82F2-4ED8-9229-4AD4686F732E}" dt="2022-05-17T10:17:27.160" v="6481" actId="21"/>
          <ac:picMkLst>
            <pc:docMk/>
            <pc:sldMk cId="95605179" sldId="2147375885"/>
            <ac:picMk id="2056" creationId="{759A92D8-11E1-46AF-8160-CC6A7796ACC9}"/>
          </ac:picMkLst>
        </pc:picChg>
        <pc:picChg chg="del">
          <ac:chgData name="Pirone, Chiara" userId="d9d5b965-323f-43ee-9ca8-6b95d06dc7f9" providerId="ADAL" clId="{EEA06CB2-82F2-4ED8-9229-4AD4686F732E}" dt="2022-05-17T10:19:47.395" v="6493" actId="21"/>
          <ac:picMkLst>
            <pc:docMk/>
            <pc:sldMk cId="95605179" sldId="2147375885"/>
            <ac:picMk id="2058" creationId="{48BB27B8-2A4A-4B69-B623-94451CE62066}"/>
          </ac:picMkLst>
        </pc:picChg>
        <pc:picChg chg="del">
          <ac:chgData name="Pirone, Chiara" userId="d9d5b965-323f-43ee-9ca8-6b95d06dc7f9" providerId="ADAL" clId="{EEA06CB2-82F2-4ED8-9229-4AD4686F732E}" dt="2022-05-17T10:20:30.911" v="6504" actId="21"/>
          <ac:picMkLst>
            <pc:docMk/>
            <pc:sldMk cId="95605179" sldId="2147375885"/>
            <ac:picMk id="2060" creationId="{17CBB850-D2D6-4EA2-85DA-B82C129C0AB9}"/>
          </ac:picMkLst>
        </pc:picChg>
      </pc:sldChg>
      <pc:sldChg chg="add mod ord modShow">
        <pc:chgData name="Pirone, Chiara" userId="d9d5b965-323f-43ee-9ca8-6b95d06dc7f9" providerId="ADAL" clId="{EEA06CB2-82F2-4ED8-9229-4AD4686F732E}" dt="2022-05-17T10:38:50.437" v="6757"/>
        <pc:sldMkLst>
          <pc:docMk/>
          <pc:sldMk cId="2864728152" sldId="2147375886"/>
        </pc:sldMkLst>
      </pc:sldChg>
      <pc:sldChg chg="delSp modSp add mod ord modShow">
        <pc:chgData name="Pirone, Chiara" userId="d9d5b965-323f-43ee-9ca8-6b95d06dc7f9" providerId="ADAL" clId="{EEA06CB2-82F2-4ED8-9229-4AD4686F732E}" dt="2022-05-17T10:38:15.409" v="6751"/>
        <pc:sldMkLst>
          <pc:docMk/>
          <pc:sldMk cId="204564382" sldId="2147375887"/>
        </pc:sldMkLst>
        <pc:spChg chg="del">
          <ac:chgData name="Pirone, Chiara" userId="d9d5b965-323f-43ee-9ca8-6b95d06dc7f9" providerId="ADAL" clId="{EEA06CB2-82F2-4ED8-9229-4AD4686F732E}" dt="2022-05-17T09:54:15.370" v="5822" actId="478"/>
          <ac:spMkLst>
            <pc:docMk/>
            <pc:sldMk cId="204564382" sldId="2147375887"/>
            <ac:spMk id="2" creationId="{DF8F6795-9B1B-4285-8E18-7B62D6B3DCDF}"/>
          </ac:spMkLst>
        </pc:spChg>
        <pc:spChg chg="del">
          <ac:chgData name="Pirone, Chiara" userId="d9d5b965-323f-43ee-9ca8-6b95d06dc7f9" providerId="ADAL" clId="{EEA06CB2-82F2-4ED8-9229-4AD4686F732E}" dt="2022-05-17T09:54:29.355" v="5834" actId="478"/>
          <ac:spMkLst>
            <pc:docMk/>
            <pc:sldMk cId="204564382" sldId="2147375887"/>
            <ac:spMk id="40" creationId="{91A4E1C7-FC60-4B58-860E-5A2C11150D44}"/>
          </ac:spMkLst>
        </pc:spChg>
        <pc:spChg chg="del">
          <ac:chgData name="Pirone, Chiara" userId="d9d5b965-323f-43ee-9ca8-6b95d06dc7f9" providerId="ADAL" clId="{EEA06CB2-82F2-4ED8-9229-4AD4686F732E}" dt="2022-05-17T09:54:20.706" v="5827" actId="478"/>
          <ac:spMkLst>
            <pc:docMk/>
            <pc:sldMk cId="204564382" sldId="2147375887"/>
            <ac:spMk id="41" creationId="{AEBEBE2C-FB00-4F4B-8773-9A0C3ECB8F7B}"/>
          </ac:spMkLst>
        </pc:spChg>
        <pc:spChg chg="del">
          <ac:chgData name="Pirone, Chiara" userId="d9d5b965-323f-43ee-9ca8-6b95d06dc7f9" providerId="ADAL" clId="{EEA06CB2-82F2-4ED8-9229-4AD4686F732E}" dt="2022-05-17T09:53:47.012" v="5808" actId="478"/>
          <ac:spMkLst>
            <pc:docMk/>
            <pc:sldMk cId="204564382" sldId="2147375887"/>
            <ac:spMk id="42" creationId="{FBEFEACC-CE41-4024-9DF4-050FD5D887EA}"/>
          </ac:spMkLst>
        </pc:spChg>
        <pc:spChg chg="del">
          <ac:chgData name="Pirone, Chiara" userId="d9d5b965-323f-43ee-9ca8-6b95d06dc7f9" providerId="ADAL" clId="{EEA06CB2-82F2-4ED8-9229-4AD4686F732E}" dt="2022-05-17T09:53:47.012" v="5808" actId="478"/>
          <ac:spMkLst>
            <pc:docMk/>
            <pc:sldMk cId="204564382" sldId="2147375887"/>
            <ac:spMk id="43" creationId="{10F4A610-B698-45EC-8264-BBE7FA4725E5}"/>
          </ac:spMkLst>
        </pc:spChg>
        <pc:spChg chg="del">
          <ac:chgData name="Pirone, Chiara" userId="d9d5b965-323f-43ee-9ca8-6b95d06dc7f9" providerId="ADAL" clId="{EEA06CB2-82F2-4ED8-9229-4AD4686F732E}" dt="2022-05-17T09:53:47.012" v="5808" actId="478"/>
          <ac:spMkLst>
            <pc:docMk/>
            <pc:sldMk cId="204564382" sldId="2147375887"/>
            <ac:spMk id="44" creationId="{A3A93D49-9F32-445B-AB16-E49B5A3CE118}"/>
          </ac:spMkLst>
        </pc:spChg>
        <pc:spChg chg="del">
          <ac:chgData name="Pirone, Chiara" userId="d9d5b965-323f-43ee-9ca8-6b95d06dc7f9" providerId="ADAL" clId="{EEA06CB2-82F2-4ED8-9229-4AD4686F732E}" dt="2022-05-17T09:53:47.012" v="5808" actId="478"/>
          <ac:spMkLst>
            <pc:docMk/>
            <pc:sldMk cId="204564382" sldId="2147375887"/>
            <ac:spMk id="45" creationId="{8733367B-0B23-449D-B451-704760530981}"/>
          </ac:spMkLst>
        </pc:spChg>
        <pc:spChg chg="del">
          <ac:chgData name="Pirone, Chiara" userId="d9d5b965-323f-43ee-9ca8-6b95d06dc7f9" providerId="ADAL" clId="{EEA06CB2-82F2-4ED8-9229-4AD4686F732E}" dt="2022-05-17T09:53:47.012" v="5808" actId="478"/>
          <ac:spMkLst>
            <pc:docMk/>
            <pc:sldMk cId="204564382" sldId="2147375887"/>
            <ac:spMk id="46" creationId="{13588159-4B90-4DD1-B24D-EEEAF01A68C5}"/>
          </ac:spMkLst>
        </pc:spChg>
        <pc:spChg chg="del">
          <ac:chgData name="Pirone, Chiara" userId="d9d5b965-323f-43ee-9ca8-6b95d06dc7f9" providerId="ADAL" clId="{EEA06CB2-82F2-4ED8-9229-4AD4686F732E}" dt="2022-05-17T09:53:47.012" v="5808" actId="478"/>
          <ac:spMkLst>
            <pc:docMk/>
            <pc:sldMk cId="204564382" sldId="2147375887"/>
            <ac:spMk id="47" creationId="{7933956A-EAA4-4B69-B874-7D9FC0D6C41F}"/>
          </ac:spMkLst>
        </pc:spChg>
        <pc:picChg chg="mod">
          <ac:chgData name="Pirone, Chiara" userId="d9d5b965-323f-43ee-9ca8-6b95d06dc7f9" providerId="ADAL" clId="{EEA06CB2-82F2-4ED8-9229-4AD4686F732E}" dt="2022-05-17T09:55:30.784" v="5925" actId="1076"/>
          <ac:picMkLst>
            <pc:docMk/>
            <pc:sldMk cId="204564382" sldId="2147375887"/>
            <ac:picMk id="2050" creationId="{ED545B77-5C26-44CA-AE20-36956779F064}"/>
          </ac:picMkLst>
        </pc:picChg>
        <pc:picChg chg="mod">
          <ac:chgData name="Pirone, Chiara" userId="d9d5b965-323f-43ee-9ca8-6b95d06dc7f9" providerId="ADAL" clId="{EEA06CB2-82F2-4ED8-9229-4AD4686F732E}" dt="2022-05-17T09:56:00.623" v="5934" actId="732"/>
          <ac:picMkLst>
            <pc:docMk/>
            <pc:sldMk cId="204564382" sldId="2147375887"/>
            <ac:picMk id="2052" creationId="{A8F46D96-DDE9-47F2-8725-58AC3EC7DF68}"/>
          </ac:picMkLst>
        </pc:picChg>
        <pc:picChg chg="mod">
          <ac:chgData name="Pirone, Chiara" userId="d9d5b965-323f-43ee-9ca8-6b95d06dc7f9" providerId="ADAL" clId="{EEA06CB2-82F2-4ED8-9229-4AD4686F732E}" dt="2022-05-17T09:54:56.581" v="5917" actId="1076"/>
          <ac:picMkLst>
            <pc:docMk/>
            <pc:sldMk cId="204564382" sldId="2147375887"/>
            <ac:picMk id="2054" creationId="{55313BE1-0428-4DB9-A746-414D2DD498B5}"/>
          </ac:picMkLst>
        </pc:picChg>
        <pc:picChg chg="mod">
          <ac:chgData name="Pirone, Chiara" userId="d9d5b965-323f-43ee-9ca8-6b95d06dc7f9" providerId="ADAL" clId="{EEA06CB2-82F2-4ED8-9229-4AD4686F732E}" dt="2022-05-17T09:54:47.162" v="5916" actId="1038"/>
          <ac:picMkLst>
            <pc:docMk/>
            <pc:sldMk cId="204564382" sldId="2147375887"/>
            <ac:picMk id="2056" creationId="{759A92D8-11E1-46AF-8160-CC6A7796ACC9}"/>
          </ac:picMkLst>
        </pc:picChg>
        <pc:picChg chg="mod">
          <ac:chgData name="Pirone, Chiara" userId="d9d5b965-323f-43ee-9ca8-6b95d06dc7f9" providerId="ADAL" clId="{EEA06CB2-82F2-4ED8-9229-4AD4686F732E}" dt="2022-05-17T09:54:47.162" v="5916" actId="1038"/>
          <ac:picMkLst>
            <pc:docMk/>
            <pc:sldMk cId="204564382" sldId="2147375887"/>
            <ac:picMk id="2058" creationId="{48BB27B8-2A4A-4B69-B623-94451CE62066}"/>
          </ac:picMkLst>
        </pc:picChg>
        <pc:picChg chg="mod">
          <ac:chgData name="Pirone, Chiara" userId="d9d5b965-323f-43ee-9ca8-6b95d06dc7f9" providerId="ADAL" clId="{EEA06CB2-82F2-4ED8-9229-4AD4686F732E}" dt="2022-05-17T09:54:35.246" v="5836" actId="12789"/>
          <ac:picMkLst>
            <pc:docMk/>
            <pc:sldMk cId="204564382" sldId="2147375887"/>
            <ac:picMk id="2060" creationId="{17CBB850-D2D6-4EA2-85DA-B82C129C0AB9}"/>
          </ac:picMkLst>
        </pc:picChg>
      </pc:sldChg>
      <pc:sldChg chg="add mod ord modShow">
        <pc:chgData name="Pirone, Chiara" userId="d9d5b965-323f-43ee-9ca8-6b95d06dc7f9" providerId="ADAL" clId="{EEA06CB2-82F2-4ED8-9229-4AD4686F732E}" dt="2022-05-17T10:38:15.409" v="6751"/>
        <pc:sldMkLst>
          <pc:docMk/>
          <pc:sldMk cId="538933072" sldId="2147375888"/>
        </pc:sldMkLst>
      </pc:sldChg>
      <pc:sldChg chg="delSp modSp add mod ord setBg modShow">
        <pc:chgData name="Pirone, Chiara" userId="d9d5b965-323f-43ee-9ca8-6b95d06dc7f9" providerId="ADAL" clId="{EEA06CB2-82F2-4ED8-9229-4AD4686F732E}" dt="2022-05-17T10:38:15.409" v="6751"/>
        <pc:sldMkLst>
          <pc:docMk/>
          <pc:sldMk cId="1934338107" sldId="2147375889"/>
        </pc:sldMkLst>
        <pc:spChg chg="mod">
          <ac:chgData name="Pirone, Chiara" userId="d9d5b965-323f-43ee-9ca8-6b95d06dc7f9" providerId="ADAL" clId="{EEA06CB2-82F2-4ED8-9229-4AD4686F732E}" dt="2022-05-17T10:15:34.589" v="6463" actId="1076"/>
          <ac:spMkLst>
            <pc:docMk/>
            <pc:sldMk cId="1934338107" sldId="2147375889"/>
            <ac:spMk id="2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0:15:39.734" v="6464" actId="1076"/>
          <ac:spMkLst>
            <pc:docMk/>
            <pc:sldMk cId="1934338107" sldId="2147375889"/>
            <ac:spMk id="4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0:15:51.137" v="6467" actId="1076"/>
          <ac:spMkLst>
            <pc:docMk/>
            <pc:sldMk cId="1934338107" sldId="2147375889"/>
            <ac:spMk id="6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0:15:44.042" v="6465" actId="1076"/>
          <ac:spMkLst>
            <pc:docMk/>
            <pc:sldMk cId="1934338107" sldId="2147375889"/>
            <ac:spMk id="8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0:15:44.042" v="6465" actId="1076"/>
          <ac:spMkLst>
            <pc:docMk/>
            <pc:sldMk cId="1934338107" sldId="2147375889"/>
            <ac:spMk id="39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0:15:39.734" v="6464" actId="1076"/>
          <ac:spMkLst>
            <pc:docMk/>
            <pc:sldMk cId="1934338107" sldId="2147375889"/>
            <ac:spMk id="68" creationId="{7A9E2DB5-7776-4FE6-9DAB-1EDA866C9E35}"/>
          </ac:spMkLst>
        </pc:spChg>
        <pc:spChg chg="mod">
          <ac:chgData name="Pirone, Chiara" userId="d9d5b965-323f-43ee-9ca8-6b95d06dc7f9" providerId="ADAL" clId="{EEA06CB2-82F2-4ED8-9229-4AD4686F732E}" dt="2022-05-17T10:15:51.137" v="6467" actId="1076"/>
          <ac:spMkLst>
            <pc:docMk/>
            <pc:sldMk cId="1934338107" sldId="2147375889"/>
            <ac:spMk id="73" creationId="{3A4BD4C6-FAAB-4061-8261-EB9C67E54FCA}"/>
          </ac:spMkLst>
        </pc:spChg>
        <pc:grpChg chg="mod">
          <ac:chgData name="Pirone, Chiara" userId="d9d5b965-323f-43ee-9ca8-6b95d06dc7f9" providerId="ADAL" clId="{EEA06CB2-82F2-4ED8-9229-4AD4686F732E}" dt="2022-05-17T10:15:39.734" v="6464" actId="1076"/>
          <ac:grpSpMkLst>
            <pc:docMk/>
            <pc:sldMk cId="1934338107" sldId="2147375889"/>
            <ac:grpSpMk id="3" creationId="{00000000-0000-0000-0000-000000000000}"/>
          </ac:grpSpMkLst>
        </pc:grpChg>
        <pc:grpChg chg="mod">
          <ac:chgData name="Pirone, Chiara" userId="d9d5b965-323f-43ee-9ca8-6b95d06dc7f9" providerId="ADAL" clId="{EEA06CB2-82F2-4ED8-9229-4AD4686F732E}" dt="2022-05-17T10:15:51.137" v="6467" actId="1076"/>
          <ac:grpSpMkLst>
            <pc:docMk/>
            <pc:sldMk cId="1934338107" sldId="2147375889"/>
            <ac:grpSpMk id="5" creationId="{00000000-0000-0000-0000-000000000000}"/>
          </ac:grpSpMkLst>
        </pc:grpChg>
        <pc:grpChg chg="mod">
          <ac:chgData name="Pirone, Chiara" userId="d9d5b965-323f-43ee-9ca8-6b95d06dc7f9" providerId="ADAL" clId="{EEA06CB2-82F2-4ED8-9229-4AD4686F732E}" dt="2022-05-17T10:15:53.515" v="6468" actId="1076"/>
          <ac:grpSpMkLst>
            <pc:docMk/>
            <pc:sldMk cId="1934338107" sldId="2147375889"/>
            <ac:grpSpMk id="7" creationId="{00000000-0000-0000-0000-000000000000}"/>
          </ac:grpSpMkLst>
        </pc:grpChg>
        <pc:grpChg chg="del">
          <ac:chgData name="Pirone, Chiara" userId="d9d5b965-323f-43ee-9ca8-6b95d06dc7f9" providerId="ADAL" clId="{EEA06CB2-82F2-4ED8-9229-4AD4686F732E}" dt="2022-05-17T10:15:26.054" v="6461" actId="478"/>
          <ac:grpSpMkLst>
            <pc:docMk/>
            <pc:sldMk cId="1934338107" sldId="2147375889"/>
            <ac:grpSpMk id="9" creationId="{00000000-0000-0000-0000-000000000000}"/>
          </ac:grpSpMkLst>
        </pc:grpChg>
        <pc:grpChg chg="del">
          <ac:chgData name="Pirone, Chiara" userId="d9d5b965-323f-43ee-9ca8-6b95d06dc7f9" providerId="ADAL" clId="{EEA06CB2-82F2-4ED8-9229-4AD4686F732E}" dt="2022-05-17T10:15:26.054" v="6461" actId="478"/>
          <ac:grpSpMkLst>
            <pc:docMk/>
            <pc:sldMk cId="1934338107" sldId="2147375889"/>
            <ac:grpSpMk id="33" creationId="{00000000-0000-0000-0000-000000000000}"/>
          </ac:grpSpMkLst>
        </pc:grpChg>
        <pc:grpChg chg="mod">
          <ac:chgData name="Pirone, Chiara" userId="d9d5b965-323f-43ee-9ca8-6b95d06dc7f9" providerId="ADAL" clId="{EEA06CB2-82F2-4ED8-9229-4AD4686F732E}" dt="2022-05-17T10:15:53.515" v="6468" actId="1076"/>
          <ac:grpSpMkLst>
            <pc:docMk/>
            <pc:sldMk cId="1934338107" sldId="2147375889"/>
            <ac:grpSpMk id="37" creationId="{00000000-0000-0000-0000-000000000000}"/>
          </ac:grpSpMkLst>
        </pc:grpChg>
        <pc:grpChg chg="mod">
          <ac:chgData name="Pirone, Chiara" userId="d9d5b965-323f-43ee-9ca8-6b95d06dc7f9" providerId="ADAL" clId="{EEA06CB2-82F2-4ED8-9229-4AD4686F732E}" dt="2022-05-17T10:15:44.042" v="6465" actId="1076"/>
          <ac:grpSpMkLst>
            <pc:docMk/>
            <pc:sldMk cId="1934338107" sldId="2147375889"/>
            <ac:grpSpMk id="38" creationId="{00000000-0000-0000-0000-000000000000}"/>
          </ac:grpSpMkLst>
        </pc:grpChg>
        <pc:grpChg chg="del">
          <ac:chgData name="Pirone, Chiara" userId="d9d5b965-323f-43ee-9ca8-6b95d06dc7f9" providerId="ADAL" clId="{EEA06CB2-82F2-4ED8-9229-4AD4686F732E}" dt="2022-05-17T10:15:26.054" v="6461" actId="478"/>
          <ac:grpSpMkLst>
            <pc:docMk/>
            <pc:sldMk cId="1934338107" sldId="2147375889"/>
            <ac:grpSpMk id="48" creationId="{628B6545-7776-4E5B-85F9-2FD1B105C77F}"/>
          </ac:grpSpMkLst>
        </pc:grpChg>
        <pc:grpChg chg="del">
          <ac:chgData name="Pirone, Chiara" userId="d9d5b965-323f-43ee-9ca8-6b95d06dc7f9" providerId="ADAL" clId="{EEA06CB2-82F2-4ED8-9229-4AD4686F732E}" dt="2022-05-17T10:15:26.054" v="6461" actId="478"/>
          <ac:grpSpMkLst>
            <pc:docMk/>
            <pc:sldMk cId="1934338107" sldId="2147375889"/>
            <ac:grpSpMk id="50" creationId="{1BC101AB-944B-4617-A039-3E33ECDEAB67}"/>
          </ac:grpSpMkLst>
        </pc:grpChg>
        <pc:grpChg chg="del">
          <ac:chgData name="Pirone, Chiara" userId="d9d5b965-323f-43ee-9ca8-6b95d06dc7f9" providerId="ADAL" clId="{EEA06CB2-82F2-4ED8-9229-4AD4686F732E}" dt="2022-05-17T10:15:26.054" v="6461" actId="478"/>
          <ac:grpSpMkLst>
            <pc:docMk/>
            <pc:sldMk cId="1934338107" sldId="2147375889"/>
            <ac:grpSpMk id="54" creationId="{DB526C5E-625E-47F5-A135-FDF736991FEA}"/>
          </ac:grpSpMkLst>
        </pc:grpChg>
        <pc:grpChg chg="del">
          <ac:chgData name="Pirone, Chiara" userId="d9d5b965-323f-43ee-9ca8-6b95d06dc7f9" providerId="ADAL" clId="{EEA06CB2-82F2-4ED8-9229-4AD4686F732E}" dt="2022-05-17T10:15:26.054" v="6461" actId="478"/>
          <ac:grpSpMkLst>
            <pc:docMk/>
            <pc:sldMk cId="1934338107" sldId="2147375889"/>
            <ac:grpSpMk id="56" creationId="{3B3446A5-BE32-40A7-8D90-9BEED38C9FB3}"/>
          </ac:grpSpMkLst>
        </pc:grpChg>
        <pc:grpChg chg="mod">
          <ac:chgData name="Pirone, Chiara" userId="d9d5b965-323f-43ee-9ca8-6b95d06dc7f9" providerId="ADAL" clId="{EEA06CB2-82F2-4ED8-9229-4AD4686F732E}" dt="2022-05-17T10:15:39.734" v="6464" actId="1076"/>
          <ac:grpSpMkLst>
            <pc:docMk/>
            <pc:sldMk cId="1934338107" sldId="2147375889"/>
            <ac:grpSpMk id="65" creationId="{097A5409-568D-4C86-A915-BE8897D26342}"/>
          </ac:grpSpMkLst>
        </pc:grpChg>
        <pc:grpChg chg="mod">
          <ac:chgData name="Pirone, Chiara" userId="d9d5b965-323f-43ee-9ca8-6b95d06dc7f9" providerId="ADAL" clId="{EEA06CB2-82F2-4ED8-9229-4AD4686F732E}" dt="2022-05-17T10:15:39.734" v="6464" actId="1076"/>
          <ac:grpSpMkLst>
            <pc:docMk/>
            <pc:sldMk cId="1934338107" sldId="2147375889"/>
            <ac:grpSpMk id="66" creationId="{4217B7B3-90C6-4388-89C1-0322E8770A26}"/>
          </ac:grpSpMkLst>
        </pc:grpChg>
        <pc:grpChg chg="mod">
          <ac:chgData name="Pirone, Chiara" userId="d9d5b965-323f-43ee-9ca8-6b95d06dc7f9" providerId="ADAL" clId="{EEA06CB2-82F2-4ED8-9229-4AD4686F732E}" dt="2022-05-17T10:15:51.137" v="6467" actId="1076"/>
          <ac:grpSpMkLst>
            <pc:docMk/>
            <pc:sldMk cId="1934338107" sldId="2147375889"/>
            <ac:grpSpMk id="70" creationId="{C649EF8F-417A-4074-AD73-EAD7FEC54B3C}"/>
          </ac:grpSpMkLst>
        </pc:grpChg>
        <pc:grpChg chg="mod">
          <ac:chgData name="Pirone, Chiara" userId="d9d5b965-323f-43ee-9ca8-6b95d06dc7f9" providerId="ADAL" clId="{EEA06CB2-82F2-4ED8-9229-4AD4686F732E}" dt="2022-05-17T10:15:51.137" v="6467" actId="1076"/>
          <ac:grpSpMkLst>
            <pc:docMk/>
            <pc:sldMk cId="1934338107" sldId="2147375889"/>
            <ac:grpSpMk id="71" creationId="{8AD52EF4-5D64-49F6-B522-F1B822B9C446}"/>
          </ac:grpSpMkLst>
        </pc:grpChg>
        <pc:picChg chg="mod">
          <ac:chgData name="Pirone, Chiara" userId="d9d5b965-323f-43ee-9ca8-6b95d06dc7f9" providerId="ADAL" clId="{EEA06CB2-82F2-4ED8-9229-4AD4686F732E}" dt="2022-05-17T10:15:44.042" v="6465" actId="1076"/>
          <ac:picMkLst>
            <pc:docMk/>
            <pc:sldMk cId="1934338107" sldId="2147375889"/>
            <ac:picMk id="40" creationId="{00000000-0000-0000-0000-000000000000}"/>
          </ac:picMkLst>
        </pc:picChg>
        <pc:picChg chg="mod">
          <ac:chgData name="Pirone, Chiara" userId="d9d5b965-323f-43ee-9ca8-6b95d06dc7f9" providerId="ADAL" clId="{EEA06CB2-82F2-4ED8-9229-4AD4686F732E}" dt="2022-05-17T10:15:39.734" v="6464" actId="1076"/>
          <ac:picMkLst>
            <pc:docMk/>
            <pc:sldMk cId="1934338107" sldId="2147375889"/>
            <ac:picMk id="64" creationId="{AE31EDEC-6D01-4016-A878-126BEBA18E89}"/>
          </ac:picMkLst>
        </pc:picChg>
        <pc:picChg chg="mod">
          <ac:chgData name="Pirone, Chiara" userId="d9d5b965-323f-43ee-9ca8-6b95d06dc7f9" providerId="ADAL" clId="{EEA06CB2-82F2-4ED8-9229-4AD4686F732E}" dt="2022-05-17T10:15:39.734" v="6464" actId="1076"/>
          <ac:picMkLst>
            <pc:docMk/>
            <pc:sldMk cId="1934338107" sldId="2147375889"/>
            <ac:picMk id="67" creationId="{B59ECFE4-39A5-4F32-A1F3-16576F17133C}"/>
          </ac:picMkLst>
        </pc:picChg>
        <pc:picChg chg="mod">
          <ac:chgData name="Pirone, Chiara" userId="d9d5b965-323f-43ee-9ca8-6b95d06dc7f9" providerId="ADAL" clId="{EEA06CB2-82F2-4ED8-9229-4AD4686F732E}" dt="2022-05-17T10:15:51.137" v="6467" actId="1076"/>
          <ac:picMkLst>
            <pc:docMk/>
            <pc:sldMk cId="1934338107" sldId="2147375889"/>
            <ac:picMk id="69" creationId="{4A46C32D-8EAD-4D59-8C4C-18B4CE717418}"/>
          </ac:picMkLst>
        </pc:picChg>
        <pc:picChg chg="mod">
          <ac:chgData name="Pirone, Chiara" userId="d9d5b965-323f-43ee-9ca8-6b95d06dc7f9" providerId="ADAL" clId="{EEA06CB2-82F2-4ED8-9229-4AD4686F732E}" dt="2022-05-17T10:15:51.137" v="6467" actId="1076"/>
          <ac:picMkLst>
            <pc:docMk/>
            <pc:sldMk cId="1934338107" sldId="2147375889"/>
            <ac:picMk id="72" creationId="{F3C53D1A-706F-41F2-9ED1-5744C86EBDE7}"/>
          </ac:picMkLst>
        </pc:picChg>
      </pc:sldChg>
      <pc:sldChg chg="addSp delSp modSp add del mod modShow">
        <pc:chgData name="Pirone, Chiara" userId="d9d5b965-323f-43ee-9ca8-6b95d06dc7f9" providerId="ADAL" clId="{EEA06CB2-82F2-4ED8-9229-4AD4686F732E}" dt="2022-05-17T14:05:27.821" v="8644" actId="1037"/>
        <pc:sldMkLst>
          <pc:docMk/>
          <pc:sldMk cId="0" sldId="2147375890"/>
        </pc:sldMkLst>
        <pc:spChg chg="del">
          <ac:chgData name="Pirone, Chiara" userId="d9d5b965-323f-43ee-9ca8-6b95d06dc7f9" providerId="ADAL" clId="{EEA06CB2-82F2-4ED8-9229-4AD4686F732E}" dt="2022-05-17T10:45:06.482" v="6894" actId="478"/>
          <ac:spMkLst>
            <pc:docMk/>
            <pc:sldMk cId="0" sldId="2147375890"/>
            <ac:spMk id="2" creationId="{728B210B-C8AC-4097-975F-AEDF0336E994}"/>
          </ac:spMkLst>
        </pc:spChg>
        <pc:spChg chg="del mod">
          <ac:chgData name="Pirone, Chiara" userId="d9d5b965-323f-43ee-9ca8-6b95d06dc7f9" providerId="ADAL" clId="{EEA06CB2-82F2-4ED8-9229-4AD4686F732E}" dt="2022-05-17T10:45:31.562" v="6898" actId="478"/>
          <ac:spMkLst>
            <pc:docMk/>
            <pc:sldMk cId="0" sldId="2147375890"/>
            <ac:spMk id="23" creationId="{00000000-0000-0000-0000-000000000000}"/>
          </ac:spMkLst>
        </pc:spChg>
        <pc:spChg chg="mod">
          <ac:chgData name="Pirone, Chiara" userId="d9d5b965-323f-43ee-9ca8-6b95d06dc7f9" providerId="ADAL" clId="{EEA06CB2-82F2-4ED8-9229-4AD4686F732E}" dt="2022-05-17T14:05:27.821" v="8644" actId="1037"/>
          <ac:spMkLst>
            <pc:docMk/>
            <pc:sldMk cId="0" sldId="2147375890"/>
            <ac:spMk id="30" creationId="{1D3693D0-9E14-4E56-BEE1-3CD3863D4450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31" creationId="{BEC443A6-4087-4015-93EC-AE18E150E743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33" creationId="{E4695CFC-4E6F-4D88-AD59-127C3D099187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34" creationId="{16F264CA-B172-4AC5-B67A-5DA068BECC96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35" creationId="{88FEF1A3-434F-49CE-B81B-7F38E45BAA31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36" creationId="{9025F922-D122-4D3B-9B87-5C7EB75774D1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37" creationId="{F1A2CFDA-2565-4ABA-B05B-E956996C05A4}"/>
          </ac:spMkLst>
        </pc:spChg>
        <pc:spChg chg="del mod">
          <ac:chgData name="Pirone, Chiara" userId="d9d5b965-323f-43ee-9ca8-6b95d06dc7f9" providerId="ADAL" clId="{EEA06CB2-82F2-4ED8-9229-4AD4686F732E}" dt="2022-05-17T10:45:31.562" v="6898" actId="478"/>
          <ac:spMkLst>
            <pc:docMk/>
            <pc:sldMk cId="0" sldId="2147375890"/>
            <ac:spMk id="38" creationId="{750FD0A6-D361-4DCE-B41A-DDF5FFD74723}"/>
          </ac:spMkLst>
        </pc:spChg>
        <pc:spChg chg="add mod">
          <ac:chgData name="Pirone, Chiara" userId="d9d5b965-323f-43ee-9ca8-6b95d06dc7f9" providerId="ADAL" clId="{EEA06CB2-82F2-4ED8-9229-4AD4686F732E}" dt="2022-05-17T10:45:32.371" v="6899"/>
          <ac:spMkLst>
            <pc:docMk/>
            <pc:sldMk cId="0" sldId="2147375890"/>
            <ac:spMk id="41" creationId="{ECA27B23-F42B-4439-803A-574A1FBD078B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43" creationId="{042224D4-0DC6-483F-9A02-5D8CFA2482B4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45" creationId="{904951AE-B544-48DC-A436-2FF0C6ADC7BA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48" creationId="{9A7A9893-447C-44A1-BAE9-BFEA49DCBAF0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50" creationId="{78608647-4AB3-4061-94CC-A7A4201B0B90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51" creationId="{EF6EC95D-77AB-4ED6-8D81-6F81AC20FA50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53" creationId="{EAE89848-C6DA-4388-B761-263724B47F66}"/>
          </ac:spMkLst>
        </pc:spChg>
        <pc:spChg chg="mod">
          <ac:chgData name="Pirone, Chiara" userId="d9d5b965-323f-43ee-9ca8-6b95d06dc7f9" providerId="ADAL" clId="{EEA06CB2-82F2-4ED8-9229-4AD4686F732E}" dt="2022-05-17T14:05:13.254" v="8595" actId="1036"/>
          <ac:spMkLst>
            <pc:docMk/>
            <pc:sldMk cId="0" sldId="2147375890"/>
            <ac:spMk id="56" creationId="{6A61A2AF-0F56-4056-83A9-AC60D8E2AD52}"/>
          </ac:spMkLst>
        </pc:spChg>
        <pc:spChg chg="mod">
          <ac:chgData name="Pirone, Chiara" userId="d9d5b965-323f-43ee-9ca8-6b95d06dc7f9" providerId="ADAL" clId="{EEA06CB2-82F2-4ED8-9229-4AD4686F732E}" dt="2022-05-17T14:05:27.821" v="8644" actId="1037"/>
          <ac:spMkLst>
            <pc:docMk/>
            <pc:sldMk cId="0" sldId="2147375890"/>
            <ac:spMk id="58" creationId="{CFBBD7D7-6677-4A52-9909-71CCF2BF6E32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59" creationId="{9D00D147-654B-46B6-AAFC-3FD1E988B4F0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60" creationId="{80D7ABE9-EDD8-44BD-A991-BD2F29C83FCB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61" creationId="{6F85A4C8-FEBF-41C2-8656-55EF718290CC}"/>
          </ac:spMkLst>
        </pc:spChg>
        <pc:spChg chg="add mod">
          <ac:chgData name="Pirone, Chiara" userId="d9d5b965-323f-43ee-9ca8-6b95d06dc7f9" providerId="ADAL" clId="{EEA06CB2-82F2-4ED8-9229-4AD4686F732E}" dt="2022-05-17T10:45:44.955" v="6943" actId="20577"/>
          <ac:spMkLst>
            <pc:docMk/>
            <pc:sldMk cId="0" sldId="2147375890"/>
            <ac:spMk id="62" creationId="{ABFDA5E4-C847-4DF5-A635-46991A7B14B0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63" creationId="{963410F2-1EAD-4FBE-B3AC-CDDB75BC328B}"/>
          </ac:spMkLst>
        </pc:spChg>
        <pc:spChg chg="mod">
          <ac:chgData name="Pirone, Chiara" userId="d9d5b965-323f-43ee-9ca8-6b95d06dc7f9" providerId="ADAL" clId="{EEA06CB2-82F2-4ED8-9229-4AD4686F732E}" dt="2022-05-17T14:05:23.523" v="8639" actId="1037"/>
          <ac:spMkLst>
            <pc:docMk/>
            <pc:sldMk cId="0" sldId="2147375890"/>
            <ac:spMk id="66" creationId="{780D04EC-B7CC-4C81-AE51-99B9D6BD9DCF}"/>
          </ac:spMkLst>
        </pc:spChg>
        <pc:picChg chg="mod">
          <ac:chgData name="Pirone, Chiara" userId="d9d5b965-323f-43ee-9ca8-6b95d06dc7f9" providerId="ADAL" clId="{EEA06CB2-82F2-4ED8-9229-4AD4686F732E}" dt="2022-05-17T14:05:23.523" v="8639" actId="1037"/>
          <ac:picMkLst>
            <pc:docMk/>
            <pc:sldMk cId="0" sldId="2147375890"/>
            <ac:picMk id="39" creationId="{665248DF-CAFB-4712-8DB5-8674DCBD635E}"/>
          </ac:picMkLst>
        </pc:picChg>
        <pc:picChg chg="add mod">
          <ac:chgData name="Pirone, Chiara" userId="d9d5b965-323f-43ee-9ca8-6b95d06dc7f9" providerId="ADAL" clId="{EEA06CB2-82F2-4ED8-9229-4AD4686F732E}" dt="2022-05-17T10:45:32.371" v="6899"/>
          <ac:picMkLst>
            <pc:docMk/>
            <pc:sldMk cId="0" sldId="2147375890"/>
            <ac:picMk id="42" creationId="{C2DAB802-5D19-4657-9C66-6C0A51F103A2}"/>
          </ac:picMkLst>
        </pc:picChg>
        <pc:picChg chg="mod">
          <ac:chgData name="Pirone, Chiara" userId="d9d5b965-323f-43ee-9ca8-6b95d06dc7f9" providerId="ADAL" clId="{EEA06CB2-82F2-4ED8-9229-4AD4686F732E}" dt="2022-05-17T14:05:23.523" v="8639" actId="1037"/>
          <ac:picMkLst>
            <pc:docMk/>
            <pc:sldMk cId="0" sldId="2147375890"/>
            <ac:picMk id="55" creationId="{BBFDC6C7-083E-424D-93BB-30A3FA1A0155}"/>
          </ac:picMkLst>
        </pc:picChg>
        <pc:picChg chg="add del mod">
          <ac:chgData name="Pirone, Chiara" userId="d9d5b965-323f-43ee-9ca8-6b95d06dc7f9" providerId="ADAL" clId="{EEA06CB2-82F2-4ED8-9229-4AD4686F732E}" dt="2022-05-17T10:55:57.310" v="7245" actId="478"/>
          <ac:picMkLst>
            <pc:docMk/>
            <pc:sldMk cId="0" sldId="2147375890"/>
            <ac:picMk id="65" creationId="{C6DD4A98-22A8-4A25-9507-99EA748648DA}"/>
          </ac:picMkLst>
        </pc:picChg>
        <pc:picChg chg="add mod">
          <ac:chgData name="Pirone, Chiara" userId="d9d5b965-323f-43ee-9ca8-6b95d06dc7f9" providerId="ADAL" clId="{EEA06CB2-82F2-4ED8-9229-4AD4686F732E}" dt="2022-05-17T10:55:57.598" v="7246"/>
          <ac:picMkLst>
            <pc:docMk/>
            <pc:sldMk cId="0" sldId="2147375890"/>
            <ac:picMk id="67" creationId="{D924C44B-E735-443B-82C2-CCA9620BE4B3}"/>
          </ac:picMkLst>
        </pc:picChg>
        <pc:cxnChg chg="mod">
          <ac:chgData name="Pirone, Chiara" userId="d9d5b965-323f-43ee-9ca8-6b95d06dc7f9" providerId="ADAL" clId="{EEA06CB2-82F2-4ED8-9229-4AD4686F732E}" dt="2022-05-17T14:05:23.523" v="8639" actId="1037"/>
          <ac:cxnSpMkLst>
            <pc:docMk/>
            <pc:sldMk cId="0" sldId="2147375890"/>
            <ac:cxnSpMk id="40" creationId="{ADFFED0A-F5A8-46A3-BCAF-1901D523F5C3}"/>
          </ac:cxnSpMkLst>
        </pc:cxnChg>
        <pc:cxnChg chg="mod">
          <ac:chgData name="Pirone, Chiara" userId="d9d5b965-323f-43ee-9ca8-6b95d06dc7f9" providerId="ADAL" clId="{EEA06CB2-82F2-4ED8-9229-4AD4686F732E}" dt="2022-05-17T14:05:23.523" v="8639" actId="1037"/>
          <ac:cxnSpMkLst>
            <pc:docMk/>
            <pc:sldMk cId="0" sldId="2147375890"/>
            <ac:cxnSpMk id="44" creationId="{3E01BE6D-B388-4E5B-B515-D740B7587F86}"/>
          </ac:cxnSpMkLst>
        </pc:cxnChg>
        <pc:cxnChg chg="mod">
          <ac:chgData name="Pirone, Chiara" userId="d9d5b965-323f-43ee-9ca8-6b95d06dc7f9" providerId="ADAL" clId="{EEA06CB2-82F2-4ED8-9229-4AD4686F732E}" dt="2022-05-17T14:05:23.523" v="8639" actId="1037"/>
          <ac:cxnSpMkLst>
            <pc:docMk/>
            <pc:sldMk cId="0" sldId="2147375890"/>
            <ac:cxnSpMk id="46" creationId="{3F14AE20-B526-414D-8802-F68E5A777509}"/>
          </ac:cxnSpMkLst>
        </pc:cxnChg>
        <pc:cxnChg chg="mod">
          <ac:chgData name="Pirone, Chiara" userId="d9d5b965-323f-43ee-9ca8-6b95d06dc7f9" providerId="ADAL" clId="{EEA06CB2-82F2-4ED8-9229-4AD4686F732E}" dt="2022-05-17T14:05:23.523" v="8639" actId="1037"/>
          <ac:cxnSpMkLst>
            <pc:docMk/>
            <pc:sldMk cId="0" sldId="2147375890"/>
            <ac:cxnSpMk id="47" creationId="{9CD96B89-BC16-47BB-990D-72CAC1EADF0C}"/>
          </ac:cxnSpMkLst>
        </pc:cxnChg>
        <pc:cxnChg chg="mod">
          <ac:chgData name="Pirone, Chiara" userId="d9d5b965-323f-43ee-9ca8-6b95d06dc7f9" providerId="ADAL" clId="{EEA06CB2-82F2-4ED8-9229-4AD4686F732E}" dt="2022-05-17T14:05:23.523" v="8639" actId="1037"/>
          <ac:cxnSpMkLst>
            <pc:docMk/>
            <pc:sldMk cId="0" sldId="2147375890"/>
            <ac:cxnSpMk id="49" creationId="{577727DC-D04A-4FBF-8E95-1A94FE22E323}"/>
          </ac:cxnSpMkLst>
        </pc:cxnChg>
        <pc:cxnChg chg="mod">
          <ac:chgData name="Pirone, Chiara" userId="d9d5b965-323f-43ee-9ca8-6b95d06dc7f9" providerId="ADAL" clId="{EEA06CB2-82F2-4ED8-9229-4AD4686F732E}" dt="2022-05-17T14:05:23.523" v="8639" actId="1037"/>
          <ac:cxnSpMkLst>
            <pc:docMk/>
            <pc:sldMk cId="0" sldId="2147375890"/>
            <ac:cxnSpMk id="52" creationId="{773F1D90-7167-4C40-8358-69F68E6F1A97}"/>
          </ac:cxnSpMkLst>
        </pc:cxnChg>
        <pc:cxnChg chg="mod">
          <ac:chgData name="Pirone, Chiara" userId="d9d5b965-323f-43ee-9ca8-6b95d06dc7f9" providerId="ADAL" clId="{EEA06CB2-82F2-4ED8-9229-4AD4686F732E}" dt="2022-05-17T14:05:23.523" v="8639" actId="1037"/>
          <ac:cxnSpMkLst>
            <pc:docMk/>
            <pc:sldMk cId="0" sldId="2147375890"/>
            <ac:cxnSpMk id="54" creationId="{7BC50700-A765-432D-9E77-E5AFC0D0464A}"/>
          </ac:cxnSpMkLst>
        </pc:cxnChg>
        <pc:cxnChg chg="mod">
          <ac:chgData name="Pirone, Chiara" userId="d9d5b965-323f-43ee-9ca8-6b95d06dc7f9" providerId="ADAL" clId="{EEA06CB2-82F2-4ED8-9229-4AD4686F732E}" dt="2022-05-17T14:05:23.523" v="8639" actId="1037"/>
          <ac:cxnSpMkLst>
            <pc:docMk/>
            <pc:sldMk cId="0" sldId="2147375890"/>
            <ac:cxnSpMk id="57" creationId="{FBC66AB4-818F-44C3-876E-5B2F4254A2DC}"/>
          </ac:cxnSpMkLst>
        </pc:cxnChg>
        <pc:cxnChg chg="mod">
          <ac:chgData name="Pirone, Chiara" userId="d9d5b965-323f-43ee-9ca8-6b95d06dc7f9" providerId="ADAL" clId="{EEA06CB2-82F2-4ED8-9229-4AD4686F732E}" dt="2022-05-17T14:05:23.523" v="8639" actId="1037"/>
          <ac:cxnSpMkLst>
            <pc:docMk/>
            <pc:sldMk cId="0" sldId="2147375890"/>
            <ac:cxnSpMk id="64" creationId="{1B5D1009-DCC8-495B-9C88-B087DE910550}"/>
          </ac:cxnSpMkLst>
        </pc:cxnChg>
        <pc:cxnChg chg="mod">
          <ac:chgData name="Pirone, Chiara" userId="d9d5b965-323f-43ee-9ca8-6b95d06dc7f9" providerId="ADAL" clId="{EEA06CB2-82F2-4ED8-9229-4AD4686F732E}" dt="2022-05-17T14:05:23.523" v="8639" actId="1037"/>
          <ac:cxnSpMkLst>
            <pc:docMk/>
            <pc:sldMk cId="0" sldId="2147375890"/>
            <ac:cxnSpMk id="70" creationId="{12BC64B2-900C-4A9A-B386-BE6BD327F7CF}"/>
          </ac:cxnSpMkLst>
        </pc:cxnChg>
        <pc:cxnChg chg="mod">
          <ac:chgData name="Pirone, Chiara" userId="d9d5b965-323f-43ee-9ca8-6b95d06dc7f9" providerId="ADAL" clId="{EEA06CB2-82F2-4ED8-9229-4AD4686F732E}" dt="2022-05-17T14:05:23.523" v="8639" actId="1037"/>
          <ac:cxnSpMkLst>
            <pc:docMk/>
            <pc:sldMk cId="0" sldId="2147375890"/>
            <ac:cxnSpMk id="72" creationId="{16DE0A51-B24E-4282-A7EF-624E8239429F}"/>
          </ac:cxnSpMkLst>
        </pc:cxnChg>
        <pc:cxnChg chg="mod">
          <ac:chgData name="Pirone, Chiara" userId="d9d5b965-323f-43ee-9ca8-6b95d06dc7f9" providerId="ADAL" clId="{EEA06CB2-82F2-4ED8-9229-4AD4686F732E}" dt="2022-05-17T14:05:23.523" v="8639" actId="1037"/>
          <ac:cxnSpMkLst>
            <pc:docMk/>
            <pc:sldMk cId="0" sldId="2147375890"/>
            <ac:cxnSpMk id="77" creationId="{956D6F84-96D1-46F7-8B56-C61CBE0281D5}"/>
          </ac:cxnSpMkLst>
        </pc:cxnChg>
      </pc:sldChg>
      <pc:sldChg chg="addSp delSp modSp add mod ord setBg modShow">
        <pc:chgData name="Pirone, Chiara" userId="d9d5b965-323f-43ee-9ca8-6b95d06dc7f9" providerId="ADAL" clId="{EEA06CB2-82F2-4ED8-9229-4AD4686F732E}" dt="2022-05-17T11:13:22.139" v="7673"/>
        <pc:sldMkLst>
          <pc:docMk/>
          <pc:sldMk cId="1993720889" sldId="2147375891"/>
        </pc:sldMkLst>
        <pc:spChg chg="del">
          <ac:chgData name="Pirone, Chiara" userId="d9d5b965-323f-43ee-9ca8-6b95d06dc7f9" providerId="ADAL" clId="{EEA06CB2-82F2-4ED8-9229-4AD4686F732E}" dt="2022-05-17T10:57:16.008" v="7251" actId="478"/>
          <ac:spMkLst>
            <pc:docMk/>
            <pc:sldMk cId="1993720889" sldId="2147375891"/>
            <ac:spMk id="13" creationId="{00000000-0000-0000-0000-000000000000}"/>
          </ac:spMkLst>
        </pc:spChg>
        <pc:spChg chg="add del">
          <ac:chgData name="Pirone, Chiara" userId="d9d5b965-323f-43ee-9ca8-6b95d06dc7f9" providerId="ADAL" clId="{EEA06CB2-82F2-4ED8-9229-4AD4686F732E}" dt="2022-05-17T11:02:04.251" v="7354" actId="478"/>
          <ac:spMkLst>
            <pc:docMk/>
            <pc:sldMk cId="1993720889" sldId="2147375891"/>
            <ac:spMk id="18" creationId="{F8169609-24C8-47A5-83F2-12F74E719479}"/>
          </ac:spMkLst>
        </pc:spChg>
        <pc:spChg chg="add del">
          <ac:chgData name="Pirone, Chiara" userId="d9d5b965-323f-43ee-9ca8-6b95d06dc7f9" providerId="ADAL" clId="{EEA06CB2-82F2-4ED8-9229-4AD4686F732E}" dt="2022-05-17T11:02:12.056" v="7356" actId="478"/>
          <ac:spMkLst>
            <pc:docMk/>
            <pc:sldMk cId="1993720889" sldId="2147375891"/>
            <ac:spMk id="19" creationId="{C7CB3925-6B8F-4B7D-9E89-68C0A5F4096F}"/>
          </ac:spMkLst>
        </pc:spChg>
        <pc:spChg chg="add del mod">
          <ac:chgData name="Pirone, Chiara" userId="d9d5b965-323f-43ee-9ca8-6b95d06dc7f9" providerId="ADAL" clId="{EEA06CB2-82F2-4ED8-9229-4AD4686F732E}" dt="2022-05-17T11:03:53.190" v="7373" actId="478"/>
          <ac:spMkLst>
            <pc:docMk/>
            <pc:sldMk cId="1993720889" sldId="2147375891"/>
            <ac:spMk id="42" creationId="{0C5968E9-E5DC-4377-A2D3-B9C222336F86}"/>
          </ac:spMkLst>
        </pc:spChg>
        <pc:spChg chg="add mod">
          <ac:chgData name="Pirone, Chiara" userId="d9d5b965-323f-43ee-9ca8-6b95d06dc7f9" providerId="ADAL" clId="{EEA06CB2-82F2-4ED8-9229-4AD4686F732E}" dt="2022-05-17T11:06:32.377" v="7460" actId="164"/>
          <ac:spMkLst>
            <pc:docMk/>
            <pc:sldMk cId="1993720889" sldId="2147375891"/>
            <ac:spMk id="43" creationId="{07E76D42-461E-4229-923F-B86EFD0D4304}"/>
          </ac:spMkLst>
        </pc:spChg>
        <pc:spChg chg="add del mod">
          <ac:chgData name="Pirone, Chiara" userId="d9d5b965-323f-43ee-9ca8-6b95d06dc7f9" providerId="ADAL" clId="{EEA06CB2-82F2-4ED8-9229-4AD4686F732E}" dt="2022-05-17T11:03:53.190" v="7373" actId="478"/>
          <ac:spMkLst>
            <pc:docMk/>
            <pc:sldMk cId="1993720889" sldId="2147375891"/>
            <ac:spMk id="44" creationId="{364B2C72-27DD-4B47-9866-3217E00AA2E6}"/>
          </ac:spMkLst>
        </pc:spChg>
        <pc:spChg chg="add mod">
          <ac:chgData name="Pirone, Chiara" userId="d9d5b965-323f-43ee-9ca8-6b95d06dc7f9" providerId="ADAL" clId="{EEA06CB2-82F2-4ED8-9229-4AD4686F732E}" dt="2022-05-17T11:07:01.959" v="7470" actId="164"/>
          <ac:spMkLst>
            <pc:docMk/>
            <pc:sldMk cId="1993720889" sldId="2147375891"/>
            <ac:spMk id="45" creationId="{41FE7439-9497-4BF7-8907-BDAAECD8F718}"/>
          </ac:spMkLst>
        </pc:spChg>
        <pc:spChg chg="add del mod">
          <ac:chgData name="Pirone, Chiara" userId="d9d5b965-323f-43ee-9ca8-6b95d06dc7f9" providerId="ADAL" clId="{EEA06CB2-82F2-4ED8-9229-4AD4686F732E}" dt="2022-05-17T11:00:46.890" v="7336" actId="478"/>
          <ac:spMkLst>
            <pc:docMk/>
            <pc:sldMk cId="1993720889" sldId="2147375891"/>
            <ac:spMk id="46" creationId="{276ED741-BA9D-4BFB-8071-976244DE7DA9}"/>
          </ac:spMkLst>
        </pc:spChg>
        <pc:spChg chg="add mod">
          <ac:chgData name="Pirone, Chiara" userId="d9d5b965-323f-43ee-9ca8-6b95d06dc7f9" providerId="ADAL" clId="{EEA06CB2-82F2-4ED8-9229-4AD4686F732E}" dt="2022-05-17T11:08:42.854" v="7500" actId="164"/>
          <ac:spMkLst>
            <pc:docMk/>
            <pc:sldMk cId="1993720889" sldId="2147375891"/>
            <ac:spMk id="47" creationId="{5BA72113-EAC5-4B5B-AEF5-4D86CA7EC838}"/>
          </ac:spMkLst>
        </pc:spChg>
        <pc:spChg chg="add del mod">
          <ac:chgData name="Pirone, Chiara" userId="d9d5b965-323f-43ee-9ca8-6b95d06dc7f9" providerId="ADAL" clId="{EEA06CB2-82F2-4ED8-9229-4AD4686F732E}" dt="2022-05-17T11:03:54.467" v="7374" actId="478"/>
          <ac:spMkLst>
            <pc:docMk/>
            <pc:sldMk cId="1993720889" sldId="2147375891"/>
            <ac:spMk id="50" creationId="{34F603DF-B9D1-4194-BD7B-E07F465A22B1}"/>
          </ac:spMkLst>
        </pc:spChg>
        <pc:spChg chg="add mod">
          <ac:chgData name="Pirone, Chiara" userId="d9d5b965-323f-43ee-9ca8-6b95d06dc7f9" providerId="ADAL" clId="{EEA06CB2-82F2-4ED8-9229-4AD4686F732E}" dt="2022-05-17T11:06:46.538" v="7465" actId="164"/>
          <ac:spMkLst>
            <pc:docMk/>
            <pc:sldMk cId="1993720889" sldId="2147375891"/>
            <ac:spMk id="51" creationId="{DAABB292-B75E-4A2D-A4EF-50455E17B2DE}"/>
          </ac:spMkLst>
        </pc:spChg>
        <pc:spChg chg="add del mod">
          <ac:chgData name="Pirone, Chiara" userId="d9d5b965-323f-43ee-9ca8-6b95d06dc7f9" providerId="ADAL" clId="{EEA06CB2-82F2-4ED8-9229-4AD4686F732E}" dt="2022-05-17T11:03:54.467" v="7374" actId="478"/>
          <ac:spMkLst>
            <pc:docMk/>
            <pc:sldMk cId="1993720889" sldId="2147375891"/>
            <ac:spMk id="52" creationId="{F604A99B-33CE-4A28-9AC5-0AE8BA74898A}"/>
          </ac:spMkLst>
        </pc:spChg>
        <pc:spChg chg="add mod">
          <ac:chgData name="Pirone, Chiara" userId="d9d5b965-323f-43ee-9ca8-6b95d06dc7f9" providerId="ADAL" clId="{EEA06CB2-82F2-4ED8-9229-4AD4686F732E}" dt="2022-05-17T11:07:39.717" v="7485" actId="1076"/>
          <ac:spMkLst>
            <pc:docMk/>
            <pc:sldMk cId="1993720889" sldId="2147375891"/>
            <ac:spMk id="53" creationId="{7B5CBACF-35E4-463B-B7A2-9F8483C3BD34}"/>
          </ac:spMkLst>
        </pc:spChg>
        <pc:spChg chg="mod">
          <ac:chgData name="Pirone, Chiara" userId="d9d5b965-323f-43ee-9ca8-6b95d06dc7f9" providerId="ADAL" clId="{EEA06CB2-82F2-4ED8-9229-4AD4686F732E}" dt="2022-05-17T10:57:55.340" v="7287"/>
          <ac:spMkLst>
            <pc:docMk/>
            <pc:sldMk cId="1993720889" sldId="2147375891"/>
            <ac:spMk id="58" creationId="{7A12C376-077C-46CA-B0CE-56BB5770F8BE}"/>
          </ac:spMkLst>
        </pc:spChg>
        <pc:spChg chg="mod">
          <ac:chgData name="Pirone, Chiara" userId="d9d5b965-323f-43ee-9ca8-6b95d06dc7f9" providerId="ADAL" clId="{EEA06CB2-82F2-4ED8-9229-4AD4686F732E}" dt="2022-05-17T10:57:55.340" v="7287"/>
          <ac:spMkLst>
            <pc:docMk/>
            <pc:sldMk cId="1993720889" sldId="2147375891"/>
            <ac:spMk id="59" creationId="{DFB03801-3BF5-46B6-A339-BF89C0B46420}"/>
          </ac:spMkLst>
        </pc:spChg>
        <pc:spChg chg="del">
          <ac:chgData name="Pirone, Chiara" userId="d9d5b965-323f-43ee-9ca8-6b95d06dc7f9" providerId="ADAL" clId="{EEA06CB2-82F2-4ED8-9229-4AD4686F732E}" dt="2022-05-17T10:57:16.008" v="7251" actId="478"/>
          <ac:spMkLst>
            <pc:docMk/>
            <pc:sldMk cId="1993720889" sldId="2147375891"/>
            <ac:spMk id="60" creationId="{C1FF778F-1C81-4634-B4C7-BF5BC94AB980}"/>
          </ac:spMkLst>
        </pc:spChg>
        <pc:spChg chg="del">
          <ac:chgData name="Pirone, Chiara" userId="d9d5b965-323f-43ee-9ca8-6b95d06dc7f9" providerId="ADAL" clId="{EEA06CB2-82F2-4ED8-9229-4AD4686F732E}" dt="2022-05-17T10:57:16.008" v="7251" actId="478"/>
          <ac:spMkLst>
            <pc:docMk/>
            <pc:sldMk cId="1993720889" sldId="2147375891"/>
            <ac:spMk id="61" creationId="{8312B74E-D9B9-4644-9BB2-9F62CF4567B2}"/>
          </ac:spMkLst>
        </pc:spChg>
        <pc:spChg chg="del">
          <ac:chgData name="Pirone, Chiara" userId="d9d5b965-323f-43ee-9ca8-6b95d06dc7f9" providerId="ADAL" clId="{EEA06CB2-82F2-4ED8-9229-4AD4686F732E}" dt="2022-05-17T10:57:16.008" v="7251" actId="478"/>
          <ac:spMkLst>
            <pc:docMk/>
            <pc:sldMk cId="1993720889" sldId="2147375891"/>
            <ac:spMk id="62" creationId="{E99C1C96-6DF5-4604-B22C-E417377A58FD}"/>
          </ac:spMkLst>
        </pc:spChg>
        <pc:spChg chg="del">
          <ac:chgData name="Pirone, Chiara" userId="d9d5b965-323f-43ee-9ca8-6b95d06dc7f9" providerId="ADAL" clId="{EEA06CB2-82F2-4ED8-9229-4AD4686F732E}" dt="2022-05-17T10:57:16.008" v="7251" actId="478"/>
          <ac:spMkLst>
            <pc:docMk/>
            <pc:sldMk cId="1993720889" sldId="2147375891"/>
            <ac:spMk id="63" creationId="{EA9899E2-32CE-41C6-831D-C0F439D80F01}"/>
          </ac:spMkLst>
        </pc:spChg>
        <pc:spChg chg="mod">
          <ac:chgData name="Pirone, Chiara" userId="d9d5b965-323f-43ee-9ca8-6b95d06dc7f9" providerId="ADAL" clId="{EEA06CB2-82F2-4ED8-9229-4AD4686F732E}" dt="2022-05-17T10:57:55.340" v="7287"/>
          <ac:spMkLst>
            <pc:docMk/>
            <pc:sldMk cId="1993720889" sldId="2147375891"/>
            <ac:spMk id="65" creationId="{EC4B93D0-04C4-4835-93FF-FFDDB1431D3B}"/>
          </ac:spMkLst>
        </pc:spChg>
        <pc:spChg chg="mod">
          <ac:chgData name="Pirone, Chiara" userId="d9d5b965-323f-43ee-9ca8-6b95d06dc7f9" providerId="ADAL" clId="{EEA06CB2-82F2-4ED8-9229-4AD4686F732E}" dt="2022-05-17T10:57:55.340" v="7287"/>
          <ac:spMkLst>
            <pc:docMk/>
            <pc:sldMk cId="1993720889" sldId="2147375891"/>
            <ac:spMk id="66" creationId="{826A354C-0609-4BDF-86D1-31DB4A8558D0}"/>
          </ac:spMkLst>
        </pc:spChg>
        <pc:spChg chg="mod">
          <ac:chgData name="Pirone, Chiara" userId="d9d5b965-323f-43ee-9ca8-6b95d06dc7f9" providerId="ADAL" clId="{EEA06CB2-82F2-4ED8-9229-4AD4686F732E}" dt="2022-05-17T10:57:55.340" v="7287"/>
          <ac:spMkLst>
            <pc:docMk/>
            <pc:sldMk cId="1993720889" sldId="2147375891"/>
            <ac:spMk id="67" creationId="{4A57FEEF-A369-4DB0-9CF0-5BA890EF0A79}"/>
          </ac:spMkLst>
        </pc:spChg>
        <pc:spChg chg="mod">
          <ac:chgData name="Pirone, Chiara" userId="d9d5b965-323f-43ee-9ca8-6b95d06dc7f9" providerId="ADAL" clId="{EEA06CB2-82F2-4ED8-9229-4AD4686F732E}" dt="2022-05-17T10:57:55.340" v="7287"/>
          <ac:spMkLst>
            <pc:docMk/>
            <pc:sldMk cId="1993720889" sldId="2147375891"/>
            <ac:spMk id="70" creationId="{9A789CA7-63BD-4BF2-B8E4-013E9AC563BC}"/>
          </ac:spMkLst>
        </pc:spChg>
        <pc:spChg chg="mod">
          <ac:chgData name="Pirone, Chiara" userId="d9d5b965-323f-43ee-9ca8-6b95d06dc7f9" providerId="ADAL" clId="{EEA06CB2-82F2-4ED8-9229-4AD4686F732E}" dt="2022-05-17T10:57:55.340" v="7287"/>
          <ac:spMkLst>
            <pc:docMk/>
            <pc:sldMk cId="1993720889" sldId="2147375891"/>
            <ac:spMk id="71" creationId="{CC50FCCD-1B9F-4695-AD55-8CB1EA935E79}"/>
          </ac:spMkLst>
        </pc:spChg>
        <pc:spChg chg="mod">
          <ac:chgData name="Pirone, Chiara" userId="d9d5b965-323f-43ee-9ca8-6b95d06dc7f9" providerId="ADAL" clId="{EEA06CB2-82F2-4ED8-9229-4AD4686F732E}" dt="2022-05-17T10:57:55.340" v="7287"/>
          <ac:spMkLst>
            <pc:docMk/>
            <pc:sldMk cId="1993720889" sldId="2147375891"/>
            <ac:spMk id="72" creationId="{3AFE7AFB-30CE-4730-83E1-CA54BFE22E67}"/>
          </ac:spMkLst>
        </pc:spChg>
        <pc:spChg chg="mod">
          <ac:chgData name="Pirone, Chiara" userId="d9d5b965-323f-43ee-9ca8-6b95d06dc7f9" providerId="ADAL" clId="{EEA06CB2-82F2-4ED8-9229-4AD4686F732E}" dt="2022-05-17T10:57:55.340" v="7287"/>
          <ac:spMkLst>
            <pc:docMk/>
            <pc:sldMk cId="1993720889" sldId="2147375891"/>
            <ac:spMk id="73" creationId="{D593ED78-63C7-478C-AB99-992733B3B9E1}"/>
          </ac:spMkLst>
        </pc:spChg>
        <pc:spChg chg="mod">
          <ac:chgData name="Pirone, Chiara" userId="d9d5b965-323f-43ee-9ca8-6b95d06dc7f9" providerId="ADAL" clId="{EEA06CB2-82F2-4ED8-9229-4AD4686F732E}" dt="2022-05-17T10:57:55.340" v="7287"/>
          <ac:spMkLst>
            <pc:docMk/>
            <pc:sldMk cId="1993720889" sldId="2147375891"/>
            <ac:spMk id="74" creationId="{0586283E-83D5-45BF-BEC2-BC9618A397DC}"/>
          </ac:spMkLst>
        </pc:spChg>
        <pc:spChg chg="mod">
          <ac:chgData name="Pirone, Chiara" userId="d9d5b965-323f-43ee-9ca8-6b95d06dc7f9" providerId="ADAL" clId="{EEA06CB2-82F2-4ED8-9229-4AD4686F732E}" dt="2022-05-17T10:57:55.340" v="7287"/>
          <ac:spMkLst>
            <pc:docMk/>
            <pc:sldMk cId="1993720889" sldId="2147375891"/>
            <ac:spMk id="75" creationId="{EC0E7068-5343-49D7-83BB-F796DE297AE9}"/>
          </ac:spMkLst>
        </pc:spChg>
        <pc:spChg chg="mod">
          <ac:chgData name="Pirone, Chiara" userId="d9d5b965-323f-43ee-9ca8-6b95d06dc7f9" providerId="ADAL" clId="{EEA06CB2-82F2-4ED8-9229-4AD4686F732E}" dt="2022-05-17T10:57:55.340" v="7287"/>
          <ac:spMkLst>
            <pc:docMk/>
            <pc:sldMk cId="1993720889" sldId="2147375891"/>
            <ac:spMk id="77" creationId="{994C79EE-B803-4512-9836-6D997691A12A}"/>
          </ac:spMkLst>
        </pc:spChg>
        <pc:spChg chg="mod">
          <ac:chgData name="Pirone, Chiara" userId="d9d5b965-323f-43ee-9ca8-6b95d06dc7f9" providerId="ADAL" clId="{EEA06CB2-82F2-4ED8-9229-4AD4686F732E}" dt="2022-05-17T10:57:55.340" v="7287"/>
          <ac:spMkLst>
            <pc:docMk/>
            <pc:sldMk cId="1993720889" sldId="2147375891"/>
            <ac:spMk id="79" creationId="{CFCF1674-D4F7-4C42-8408-2D4BF2E93BE4}"/>
          </ac:spMkLst>
        </pc:spChg>
        <pc:spChg chg="mod">
          <ac:chgData name="Pirone, Chiara" userId="d9d5b965-323f-43ee-9ca8-6b95d06dc7f9" providerId="ADAL" clId="{EEA06CB2-82F2-4ED8-9229-4AD4686F732E}" dt="2022-05-17T10:57:55.340" v="7287"/>
          <ac:spMkLst>
            <pc:docMk/>
            <pc:sldMk cId="1993720889" sldId="2147375891"/>
            <ac:spMk id="80" creationId="{EB33B6CF-7E74-42E3-B2AA-B1DF086B9E7A}"/>
          </ac:spMkLst>
        </pc:spChg>
        <pc:spChg chg="mod">
          <ac:chgData name="Pirone, Chiara" userId="d9d5b965-323f-43ee-9ca8-6b95d06dc7f9" providerId="ADAL" clId="{EEA06CB2-82F2-4ED8-9229-4AD4686F732E}" dt="2022-05-17T10:57:55.340" v="7287"/>
          <ac:spMkLst>
            <pc:docMk/>
            <pc:sldMk cId="1993720889" sldId="2147375891"/>
            <ac:spMk id="81" creationId="{A4F1083E-781E-4881-BC55-AAF9E246D8C5}"/>
          </ac:spMkLst>
        </pc:spChg>
        <pc:spChg chg="mod">
          <ac:chgData name="Pirone, Chiara" userId="d9d5b965-323f-43ee-9ca8-6b95d06dc7f9" providerId="ADAL" clId="{EEA06CB2-82F2-4ED8-9229-4AD4686F732E}" dt="2022-05-17T10:57:55.340" v="7287"/>
          <ac:spMkLst>
            <pc:docMk/>
            <pc:sldMk cId="1993720889" sldId="2147375891"/>
            <ac:spMk id="82" creationId="{7CDF6A16-31D5-4B7E-A42D-219B05447D53}"/>
          </ac:spMkLst>
        </pc:spChg>
        <pc:spChg chg="add del">
          <ac:chgData name="Pirone, Chiara" userId="d9d5b965-323f-43ee-9ca8-6b95d06dc7f9" providerId="ADAL" clId="{EEA06CB2-82F2-4ED8-9229-4AD4686F732E}" dt="2022-05-17T10:59:26.683" v="7301" actId="22"/>
          <ac:spMkLst>
            <pc:docMk/>
            <pc:sldMk cId="1993720889" sldId="2147375891"/>
            <ac:spMk id="89" creationId="{7C0182B4-8917-4928-A89C-04E8C93C4C65}"/>
          </ac:spMkLst>
        </pc:spChg>
        <pc:spChg chg="add del">
          <ac:chgData name="Pirone, Chiara" userId="d9d5b965-323f-43ee-9ca8-6b95d06dc7f9" providerId="ADAL" clId="{EEA06CB2-82F2-4ED8-9229-4AD4686F732E}" dt="2022-05-17T10:59:44.068" v="7303" actId="22"/>
          <ac:spMkLst>
            <pc:docMk/>
            <pc:sldMk cId="1993720889" sldId="2147375891"/>
            <ac:spMk id="90" creationId="{7ECBFE24-5841-4303-B637-07F590CB422A}"/>
          </ac:spMkLst>
        </pc:spChg>
        <pc:spChg chg="add del">
          <ac:chgData name="Pirone, Chiara" userId="d9d5b965-323f-43ee-9ca8-6b95d06dc7f9" providerId="ADAL" clId="{EEA06CB2-82F2-4ED8-9229-4AD4686F732E}" dt="2022-05-17T10:59:47.082" v="7305" actId="478"/>
          <ac:spMkLst>
            <pc:docMk/>
            <pc:sldMk cId="1993720889" sldId="2147375891"/>
            <ac:spMk id="91" creationId="{8861392C-AB13-4031-A890-8DA2A3E75930}"/>
          </ac:spMkLst>
        </pc:spChg>
        <pc:spChg chg="del">
          <ac:chgData name="Pirone, Chiara" userId="d9d5b965-323f-43ee-9ca8-6b95d06dc7f9" providerId="ADAL" clId="{EEA06CB2-82F2-4ED8-9229-4AD4686F732E}" dt="2022-05-17T10:57:16.008" v="7251" actId="478"/>
          <ac:spMkLst>
            <pc:docMk/>
            <pc:sldMk cId="1993720889" sldId="2147375891"/>
            <ac:spMk id="98" creationId="{2B086A9D-6159-4279-B667-0420272BC615}"/>
          </ac:spMkLst>
        </pc:spChg>
        <pc:spChg chg="del">
          <ac:chgData name="Pirone, Chiara" userId="d9d5b965-323f-43ee-9ca8-6b95d06dc7f9" providerId="ADAL" clId="{EEA06CB2-82F2-4ED8-9229-4AD4686F732E}" dt="2022-05-17T10:57:16.008" v="7251" actId="478"/>
          <ac:spMkLst>
            <pc:docMk/>
            <pc:sldMk cId="1993720889" sldId="2147375891"/>
            <ac:spMk id="99" creationId="{B508C757-E0C9-4FB0-935F-0D4D897401CF}"/>
          </ac:spMkLst>
        </pc:spChg>
        <pc:spChg chg="del">
          <ac:chgData name="Pirone, Chiara" userId="d9d5b965-323f-43ee-9ca8-6b95d06dc7f9" providerId="ADAL" clId="{EEA06CB2-82F2-4ED8-9229-4AD4686F732E}" dt="2022-05-17T10:57:16.008" v="7251" actId="478"/>
          <ac:spMkLst>
            <pc:docMk/>
            <pc:sldMk cId="1993720889" sldId="2147375891"/>
            <ac:spMk id="100" creationId="{019F9EDD-6F13-42A7-B974-529C5BDAA064}"/>
          </ac:spMkLst>
        </pc:spChg>
        <pc:spChg chg="del">
          <ac:chgData name="Pirone, Chiara" userId="d9d5b965-323f-43ee-9ca8-6b95d06dc7f9" providerId="ADAL" clId="{EEA06CB2-82F2-4ED8-9229-4AD4686F732E}" dt="2022-05-17T10:57:16.008" v="7251" actId="478"/>
          <ac:spMkLst>
            <pc:docMk/>
            <pc:sldMk cId="1993720889" sldId="2147375891"/>
            <ac:spMk id="101" creationId="{4BA69AC9-67E5-4306-8952-1DD0E465568D}"/>
          </ac:spMkLst>
        </pc:spChg>
        <pc:spChg chg="del">
          <ac:chgData name="Pirone, Chiara" userId="d9d5b965-323f-43ee-9ca8-6b95d06dc7f9" providerId="ADAL" clId="{EEA06CB2-82F2-4ED8-9229-4AD4686F732E}" dt="2022-05-17T10:57:16.008" v="7251" actId="478"/>
          <ac:spMkLst>
            <pc:docMk/>
            <pc:sldMk cId="1993720889" sldId="2147375891"/>
            <ac:spMk id="102" creationId="{18E076B5-707C-4C6A-B29A-7A84CF746196}"/>
          </ac:spMkLst>
        </pc:spChg>
        <pc:spChg chg="del">
          <ac:chgData name="Pirone, Chiara" userId="d9d5b965-323f-43ee-9ca8-6b95d06dc7f9" providerId="ADAL" clId="{EEA06CB2-82F2-4ED8-9229-4AD4686F732E}" dt="2022-05-17T10:57:16.008" v="7251" actId="478"/>
          <ac:spMkLst>
            <pc:docMk/>
            <pc:sldMk cId="1993720889" sldId="2147375891"/>
            <ac:spMk id="103" creationId="{45BAE522-2E58-4C1E-8BFA-226052CD5045}"/>
          </ac:spMkLst>
        </pc:spChg>
        <pc:spChg chg="del">
          <ac:chgData name="Pirone, Chiara" userId="d9d5b965-323f-43ee-9ca8-6b95d06dc7f9" providerId="ADAL" clId="{EEA06CB2-82F2-4ED8-9229-4AD4686F732E}" dt="2022-05-17T10:57:16.008" v="7251" actId="478"/>
          <ac:spMkLst>
            <pc:docMk/>
            <pc:sldMk cId="1993720889" sldId="2147375891"/>
            <ac:spMk id="104" creationId="{11029ADD-DB9E-4FFF-8696-4881EC094A6F}"/>
          </ac:spMkLst>
        </pc:spChg>
        <pc:spChg chg="mod">
          <ac:chgData name="Pirone, Chiara" userId="d9d5b965-323f-43ee-9ca8-6b95d06dc7f9" providerId="ADAL" clId="{EEA06CB2-82F2-4ED8-9229-4AD4686F732E}" dt="2022-05-17T10:57:28.452" v="7286"/>
          <ac:spMkLst>
            <pc:docMk/>
            <pc:sldMk cId="1993720889" sldId="2147375891"/>
            <ac:spMk id="118" creationId="{939D5072-284A-4302-97EB-A855482C999A}"/>
          </ac:spMkLst>
        </pc:spChg>
        <pc:grpChg chg="add mod">
          <ac:chgData name="Pirone, Chiara" userId="d9d5b965-323f-43ee-9ca8-6b95d06dc7f9" providerId="ADAL" clId="{EEA06CB2-82F2-4ED8-9229-4AD4686F732E}" dt="2022-05-17T11:08:47.916" v="7523" actId="1036"/>
          <ac:grpSpMkLst>
            <pc:docMk/>
            <pc:sldMk cId="1993720889" sldId="2147375891"/>
            <ac:grpSpMk id="22" creationId="{7894C7DF-A04E-4C8B-BFF2-2E2892EAA41D}"/>
          </ac:grpSpMkLst>
        </pc:grpChg>
        <pc:grpChg chg="add mod">
          <ac:chgData name="Pirone, Chiara" userId="d9d5b965-323f-43ee-9ca8-6b95d06dc7f9" providerId="ADAL" clId="{EEA06CB2-82F2-4ED8-9229-4AD4686F732E}" dt="2022-05-17T11:07:12.901" v="7473" actId="1076"/>
          <ac:grpSpMkLst>
            <pc:docMk/>
            <pc:sldMk cId="1993720889" sldId="2147375891"/>
            <ac:grpSpMk id="23" creationId="{2D2ABA3E-A3B6-43B4-946E-64A93E3A1002}"/>
          </ac:grpSpMkLst>
        </pc:grpChg>
        <pc:grpChg chg="add mod">
          <ac:chgData name="Pirone, Chiara" userId="d9d5b965-323f-43ee-9ca8-6b95d06dc7f9" providerId="ADAL" clId="{EEA06CB2-82F2-4ED8-9229-4AD4686F732E}" dt="2022-05-17T11:08:47.916" v="7523" actId="1036"/>
          <ac:grpSpMkLst>
            <pc:docMk/>
            <pc:sldMk cId="1993720889" sldId="2147375891"/>
            <ac:grpSpMk id="24" creationId="{4C0F39D1-F01F-4D5A-B440-F8671DCE69AA}"/>
          </ac:grpSpMkLst>
        </pc:grpChg>
        <pc:grpChg chg="add mod">
          <ac:chgData name="Pirone, Chiara" userId="d9d5b965-323f-43ee-9ca8-6b95d06dc7f9" providerId="ADAL" clId="{EEA06CB2-82F2-4ED8-9229-4AD4686F732E}" dt="2022-05-17T11:07:36.497" v="7484" actId="1076"/>
          <ac:grpSpMkLst>
            <pc:docMk/>
            <pc:sldMk cId="1993720889" sldId="2147375891"/>
            <ac:grpSpMk id="25" creationId="{280F47FC-CB2D-418A-8C31-818FB7A4A7FE}"/>
          </ac:grpSpMkLst>
        </pc:grpChg>
        <pc:grpChg chg="add mod">
          <ac:chgData name="Pirone, Chiara" userId="d9d5b965-323f-43ee-9ca8-6b95d06dc7f9" providerId="ADAL" clId="{EEA06CB2-82F2-4ED8-9229-4AD4686F732E}" dt="2022-05-17T11:08:42.854" v="7500" actId="164"/>
          <ac:grpSpMkLst>
            <pc:docMk/>
            <pc:sldMk cId="1993720889" sldId="2147375891"/>
            <ac:grpSpMk id="26" creationId="{E2D88571-BB91-4594-A304-AA79E1CD03E4}"/>
          </ac:grpSpMkLst>
        </pc:grpChg>
        <pc:grpChg chg="add del mod">
          <ac:chgData name="Pirone, Chiara" userId="d9d5b965-323f-43ee-9ca8-6b95d06dc7f9" providerId="ADAL" clId="{EEA06CB2-82F2-4ED8-9229-4AD4686F732E}" dt="2022-05-17T11:03:54.467" v="7374" actId="478"/>
          <ac:grpSpMkLst>
            <pc:docMk/>
            <pc:sldMk cId="1993720889" sldId="2147375891"/>
            <ac:grpSpMk id="57" creationId="{D85100AB-FFDB-44B5-BEDA-59C229218B18}"/>
          </ac:grpSpMkLst>
        </pc:grpChg>
        <pc:grpChg chg="add del mod">
          <ac:chgData name="Pirone, Chiara" userId="d9d5b965-323f-43ee-9ca8-6b95d06dc7f9" providerId="ADAL" clId="{EEA06CB2-82F2-4ED8-9229-4AD4686F732E}" dt="2022-05-17T11:00:48.172" v="7337" actId="478"/>
          <ac:grpSpMkLst>
            <pc:docMk/>
            <pc:sldMk cId="1993720889" sldId="2147375891"/>
            <ac:grpSpMk id="68" creationId="{8218467C-F4A2-4A21-9819-40B54DE9D68E}"/>
          </ac:grpSpMkLst>
        </pc:grpChg>
        <pc:grpChg chg="add del mod">
          <ac:chgData name="Pirone, Chiara" userId="d9d5b965-323f-43ee-9ca8-6b95d06dc7f9" providerId="ADAL" clId="{EEA06CB2-82F2-4ED8-9229-4AD4686F732E}" dt="2022-05-17T11:03:53.190" v="7373" actId="478"/>
          <ac:grpSpMkLst>
            <pc:docMk/>
            <pc:sldMk cId="1993720889" sldId="2147375891"/>
            <ac:grpSpMk id="76" creationId="{56953BEA-994E-4BC2-9EFD-2D3BE70E3F67}"/>
          </ac:grpSpMkLst>
        </pc:grpChg>
        <pc:grpChg chg="del">
          <ac:chgData name="Pirone, Chiara" userId="d9d5b965-323f-43ee-9ca8-6b95d06dc7f9" providerId="ADAL" clId="{EEA06CB2-82F2-4ED8-9229-4AD4686F732E}" dt="2022-05-17T10:57:16.008" v="7251" actId="478"/>
          <ac:grpSpMkLst>
            <pc:docMk/>
            <pc:sldMk cId="1993720889" sldId="2147375891"/>
            <ac:grpSpMk id="105" creationId="{6D862A65-14AA-448D-B919-F534322ACDB9}"/>
          </ac:grpSpMkLst>
        </pc:grpChg>
        <pc:grpChg chg="del">
          <ac:chgData name="Pirone, Chiara" userId="d9d5b965-323f-43ee-9ca8-6b95d06dc7f9" providerId="ADAL" clId="{EEA06CB2-82F2-4ED8-9229-4AD4686F732E}" dt="2022-05-17T10:57:16.008" v="7251" actId="478"/>
          <ac:grpSpMkLst>
            <pc:docMk/>
            <pc:sldMk cId="1993720889" sldId="2147375891"/>
            <ac:grpSpMk id="106" creationId="{7FE0F611-D6CD-4CEE-97BE-31B5F3FA24D2}"/>
          </ac:grpSpMkLst>
        </pc:grpChg>
        <pc:grpChg chg="del">
          <ac:chgData name="Pirone, Chiara" userId="d9d5b965-323f-43ee-9ca8-6b95d06dc7f9" providerId="ADAL" clId="{EEA06CB2-82F2-4ED8-9229-4AD4686F732E}" dt="2022-05-17T10:57:16.008" v="7251" actId="478"/>
          <ac:grpSpMkLst>
            <pc:docMk/>
            <pc:sldMk cId="1993720889" sldId="2147375891"/>
            <ac:grpSpMk id="107" creationId="{72D33046-6BB7-4271-8AFA-AA097376F27A}"/>
          </ac:grpSpMkLst>
        </pc:grpChg>
        <pc:grpChg chg="del">
          <ac:chgData name="Pirone, Chiara" userId="d9d5b965-323f-43ee-9ca8-6b95d06dc7f9" providerId="ADAL" clId="{EEA06CB2-82F2-4ED8-9229-4AD4686F732E}" dt="2022-05-17T10:57:16.008" v="7251" actId="478"/>
          <ac:grpSpMkLst>
            <pc:docMk/>
            <pc:sldMk cId="1993720889" sldId="2147375891"/>
            <ac:grpSpMk id="108" creationId="{1A2CEF5A-E549-4A5B-A1AE-2B381C42C254}"/>
          </ac:grpSpMkLst>
        </pc:grpChg>
        <pc:grpChg chg="del">
          <ac:chgData name="Pirone, Chiara" userId="d9d5b965-323f-43ee-9ca8-6b95d06dc7f9" providerId="ADAL" clId="{EEA06CB2-82F2-4ED8-9229-4AD4686F732E}" dt="2022-05-17T10:57:16.008" v="7251" actId="478"/>
          <ac:grpSpMkLst>
            <pc:docMk/>
            <pc:sldMk cId="1993720889" sldId="2147375891"/>
            <ac:grpSpMk id="109" creationId="{5E4245AF-52CD-4E11-BB4F-D3A0E44D3F30}"/>
          </ac:grpSpMkLst>
        </pc:grpChg>
        <pc:grpChg chg="del">
          <ac:chgData name="Pirone, Chiara" userId="d9d5b965-323f-43ee-9ca8-6b95d06dc7f9" providerId="ADAL" clId="{EEA06CB2-82F2-4ED8-9229-4AD4686F732E}" dt="2022-05-17T10:57:16.008" v="7251" actId="478"/>
          <ac:grpSpMkLst>
            <pc:docMk/>
            <pc:sldMk cId="1993720889" sldId="2147375891"/>
            <ac:grpSpMk id="111" creationId="{7F277E4A-3B65-4E40-A4E6-ABCE7F80FBB1}"/>
          </ac:grpSpMkLst>
        </pc:grpChg>
        <pc:graphicFrameChg chg="add del modGraphic">
          <ac:chgData name="Pirone, Chiara" userId="d9d5b965-323f-43ee-9ca8-6b95d06dc7f9" providerId="ADAL" clId="{EEA06CB2-82F2-4ED8-9229-4AD4686F732E}" dt="2022-05-17T10:58:23.090" v="7292" actId="478"/>
          <ac:graphicFrameMkLst>
            <pc:docMk/>
            <pc:sldMk cId="1993720889" sldId="2147375891"/>
            <ac:graphicFrameMk id="11" creationId="{9A55C117-6DE9-4BF0-9F2F-78B230498C4A}"/>
          </ac:graphicFrameMkLst>
        </pc:graphicFrameChg>
        <pc:picChg chg="add del mod modCrop">
          <ac:chgData name="Pirone, Chiara" userId="d9d5b965-323f-43ee-9ca8-6b95d06dc7f9" providerId="ADAL" clId="{EEA06CB2-82F2-4ED8-9229-4AD4686F732E}" dt="2022-05-17T11:01:25.218" v="7349" actId="478"/>
          <ac:picMkLst>
            <pc:docMk/>
            <pc:sldMk cId="1993720889" sldId="2147375891"/>
            <ac:picMk id="17" creationId="{C9432E10-9865-4610-A8BA-B33C35ACF7FB}"/>
          </ac:picMkLst>
        </pc:picChg>
        <pc:picChg chg="add del mod modCrop">
          <ac:chgData name="Pirone, Chiara" userId="d9d5b965-323f-43ee-9ca8-6b95d06dc7f9" providerId="ADAL" clId="{EEA06CB2-82F2-4ED8-9229-4AD4686F732E}" dt="2022-05-17T11:05:24.927" v="7437" actId="478"/>
          <ac:picMkLst>
            <pc:docMk/>
            <pc:sldMk cId="1993720889" sldId="2147375891"/>
            <ac:picMk id="21" creationId="{D4B42D93-9D8B-47AE-BCF6-26F43888FE98}"/>
          </ac:picMkLst>
        </pc:picChg>
        <pc:picChg chg="add del mod">
          <ac:chgData name="Pirone, Chiara" userId="d9d5b965-323f-43ee-9ca8-6b95d06dc7f9" providerId="ADAL" clId="{EEA06CB2-82F2-4ED8-9229-4AD4686F732E}" dt="2022-05-17T11:03:53.190" v="7373" actId="478"/>
          <ac:picMkLst>
            <pc:docMk/>
            <pc:sldMk cId="1993720889" sldId="2147375891"/>
            <ac:picMk id="54" creationId="{F9E16531-E285-4FA4-9452-4D72852E7588}"/>
          </ac:picMkLst>
        </pc:picChg>
        <pc:picChg chg="add del mod">
          <ac:chgData name="Pirone, Chiara" userId="d9d5b965-323f-43ee-9ca8-6b95d06dc7f9" providerId="ADAL" clId="{EEA06CB2-82F2-4ED8-9229-4AD4686F732E}" dt="2022-05-17T11:03:54.467" v="7374" actId="478"/>
          <ac:picMkLst>
            <pc:docMk/>
            <pc:sldMk cId="1993720889" sldId="2147375891"/>
            <ac:picMk id="56" creationId="{66D3D85F-BF46-4CCB-B5B0-93C3208F26C0}"/>
          </ac:picMkLst>
        </pc:picChg>
        <pc:picChg chg="add del mod">
          <ac:chgData name="Pirone, Chiara" userId="d9d5b965-323f-43ee-9ca8-6b95d06dc7f9" providerId="ADAL" clId="{EEA06CB2-82F2-4ED8-9229-4AD4686F732E}" dt="2022-05-17T11:03:49.050" v="7371" actId="478"/>
          <ac:picMkLst>
            <pc:docMk/>
            <pc:sldMk cId="1993720889" sldId="2147375891"/>
            <ac:picMk id="84" creationId="{B5D37E2E-264B-49BE-BC85-45EFDDF6F5D7}"/>
          </ac:picMkLst>
        </pc:picChg>
        <pc:picChg chg="add del mod">
          <ac:chgData name="Pirone, Chiara" userId="d9d5b965-323f-43ee-9ca8-6b95d06dc7f9" providerId="ADAL" clId="{EEA06CB2-82F2-4ED8-9229-4AD4686F732E}" dt="2022-05-17T11:03:49.050" v="7371" actId="478"/>
          <ac:picMkLst>
            <pc:docMk/>
            <pc:sldMk cId="1993720889" sldId="2147375891"/>
            <ac:picMk id="85" creationId="{4DD81FB9-0174-4FDF-8093-FA400CA71BD5}"/>
          </ac:picMkLst>
        </pc:picChg>
        <pc:picChg chg="add del mod">
          <ac:chgData name="Pirone, Chiara" userId="d9d5b965-323f-43ee-9ca8-6b95d06dc7f9" providerId="ADAL" clId="{EEA06CB2-82F2-4ED8-9229-4AD4686F732E}" dt="2022-05-17T11:03:50.800" v="7372" actId="478"/>
          <ac:picMkLst>
            <pc:docMk/>
            <pc:sldMk cId="1993720889" sldId="2147375891"/>
            <ac:picMk id="86" creationId="{B291866B-CB4C-40D0-BD22-25A286380BCB}"/>
          </ac:picMkLst>
        </pc:picChg>
        <pc:picChg chg="add del mod">
          <ac:chgData name="Pirone, Chiara" userId="d9d5b965-323f-43ee-9ca8-6b95d06dc7f9" providerId="ADAL" clId="{EEA06CB2-82F2-4ED8-9229-4AD4686F732E}" dt="2022-05-17T11:03:49.050" v="7371" actId="478"/>
          <ac:picMkLst>
            <pc:docMk/>
            <pc:sldMk cId="1993720889" sldId="2147375891"/>
            <ac:picMk id="87" creationId="{D9C781F9-0E41-4371-BCA3-D5F1165FFD02}"/>
          </ac:picMkLst>
        </pc:picChg>
        <pc:picChg chg="add del mod">
          <ac:chgData name="Pirone, Chiara" userId="d9d5b965-323f-43ee-9ca8-6b95d06dc7f9" providerId="ADAL" clId="{EEA06CB2-82F2-4ED8-9229-4AD4686F732E}" dt="2022-05-17T11:01:34.332" v="7352" actId="478"/>
          <ac:picMkLst>
            <pc:docMk/>
            <pc:sldMk cId="1993720889" sldId="2147375891"/>
            <ac:picMk id="92" creationId="{1555BDD8-6AFA-4D81-BED7-F548F3EA71AA}"/>
          </ac:picMkLst>
        </pc:picChg>
        <pc:picChg chg="add del mod modCrop">
          <ac:chgData name="Pirone, Chiara" userId="d9d5b965-323f-43ee-9ca8-6b95d06dc7f9" providerId="ADAL" clId="{EEA06CB2-82F2-4ED8-9229-4AD4686F732E}" dt="2022-05-17T11:01:23.317" v="7348" actId="478"/>
          <ac:picMkLst>
            <pc:docMk/>
            <pc:sldMk cId="1993720889" sldId="2147375891"/>
            <ac:picMk id="94" creationId="{1BCD9EDF-A9F7-47BC-AAC6-9D1134BC39BD}"/>
          </ac:picMkLst>
        </pc:picChg>
        <pc:picChg chg="add del mod modCrop">
          <ac:chgData name="Pirone, Chiara" userId="d9d5b965-323f-43ee-9ca8-6b95d06dc7f9" providerId="ADAL" clId="{EEA06CB2-82F2-4ED8-9229-4AD4686F732E}" dt="2022-05-17T11:05:29.463" v="7447" actId="478"/>
          <ac:picMkLst>
            <pc:docMk/>
            <pc:sldMk cId="1993720889" sldId="2147375891"/>
            <ac:picMk id="95" creationId="{D15CD1C6-1AE9-403A-B615-8B4183C7CFD2}"/>
          </ac:picMkLst>
        </pc:picChg>
        <pc:picChg chg="add del mod">
          <ac:chgData name="Pirone, Chiara" userId="d9d5b965-323f-43ee-9ca8-6b95d06dc7f9" providerId="ADAL" clId="{EEA06CB2-82F2-4ED8-9229-4AD4686F732E}" dt="2022-05-17T11:03:49.050" v="7371" actId="478"/>
          <ac:picMkLst>
            <pc:docMk/>
            <pc:sldMk cId="1993720889" sldId="2147375891"/>
            <ac:picMk id="96" creationId="{E0C15D2F-E388-49BC-A744-3FF6BF0A07FF}"/>
          </ac:picMkLst>
        </pc:picChg>
        <pc:picChg chg="add mod">
          <ac:chgData name="Pirone, Chiara" userId="d9d5b965-323f-43ee-9ca8-6b95d06dc7f9" providerId="ADAL" clId="{EEA06CB2-82F2-4ED8-9229-4AD4686F732E}" dt="2022-05-17T11:06:46.538" v="7465" actId="164"/>
          <ac:picMkLst>
            <pc:docMk/>
            <pc:sldMk cId="1993720889" sldId="2147375891"/>
            <ac:picMk id="97" creationId="{D19A8E89-0434-4BC0-AC44-8FE634B5E905}"/>
          </ac:picMkLst>
        </pc:picChg>
        <pc:picChg chg="add mod">
          <ac:chgData name="Pirone, Chiara" userId="d9d5b965-323f-43ee-9ca8-6b95d06dc7f9" providerId="ADAL" clId="{EEA06CB2-82F2-4ED8-9229-4AD4686F732E}" dt="2022-05-17T11:07:32.903" v="7483" actId="164"/>
          <ac:picMkLst>
            <pc:docMk/>
            <pc:sldMk cId="1993720889" sldId="2147375891"/>
            <ac:picMk id="110" creationId="{9174C8C6-F1BF-4286-BCFE-D434B3065C82}"/>
          </ac:picMkLst>
        </pc:picChg>
        <pc:picChg chg="add mod">
          <ac:chgData name="Pirone, Chiara" userId="d9d5b965-323f-43ee-9ca8-6b95d06dc7f9" providerId="ADAL" clId="{EEA06CB2-82F2-4ED8-9229-4AD4686F732E}" dt="2022-05-17T11:07:01.959" v="7470" actId="164"/>
          <ac:picMkLst>
            <pc:docMk/>
            <pc:sldMk cId="1993720889" sldId="2147375891"/>
            <ac:picMk id="112" creationId="{336F53A3-8652-4DA2-A3DC-4F6D01733B08}"/>
          </ac:picMkLst>
        </pc:picChg>
        <pc:picChg chg="add mod">
          <ac:chgData name="Pirone, Chiara" userId="d9d5b965-323f-43ee-9ca8-6b95d06dc7f9" providerId="ADAL" clId="{EEA06CB2-82F2-4ED8-9229-4AD4686F732E}" dt="2022-05-17T11:06:32.377" v="7460" actId="164"/>
          <ac:picMkLst>
            <pc:docMk/>
            <pc:sldMk cId="1993720889" sldId="2147375891"/>
            <ac:picMk id="113" creationId="{DF0B931A-743D-4E3B-B8FA-D73665C0EC38}"/>
          </ac:picMkLst>
        </pc:picChg>
        <pc:picChg chg="add mod">
          <ac:chgData name="Pirone, Chiara" userId="d9d5b965-323f-43ee-9ca8-6b95d06dc7f9" providerId="ADAL" clId="{EEA06CB2-82F2-4ED8-9229-4AD4686F732E}" dt="2022-05-17T11:08:42.854" v="7500" actId="164"/>
          <ac:picMkLst>
            <pc:docMk/>
            <pc:sldMk cId="1993720889" sldId="2147375891"/>
            <ac:picMk id="114" creationId="{787811D4-440F-4D1F-B075-05A93893D317}"/>
          </ac:picMkLst>
        </pc:picChg>
        <pc:picChg chg="mod">
          <ac:chgData name="Pirone, Chiara" userId="d9d5b965-323f-43ee-9ca8-6b95d06dc7f9" providerId="ADAL" clId="{EEA06CB2-82F2-4ED8-9229-4AD4686F732E}" dt="2022-05-17T11:06:42.885" v="7464" actId="1076"/>
          <ac:picMkLst>
            <pc:docMk/>
            <pc:sldMk cId="1993720889" sldId="2147375891"/>
            <ac:picMk id="117" creationId="{918A5059-7D3E-4C07-BE1D-945E9D5DFC19}"/>
          </ac:picMkLst>
        </pc:picChg>
      </pc:sldChg>
      <pc:sldChg chg="addSp delSp modSp add del mod">
        <pc:chgData name="Pirone, Chiara" userId="d9d5b965-323f-43ee-9ca8-6b95d06dc7f9" providerId="ADAL" clId="{EEA06CB2-82F2-4ED8-9229-4AD4686F732E}" dt="2022-05-17T10:52:27.382" v="7110"/>
        <pc:sldMkLst>
          <pc:docMk/>
          <pc:sldMk cId="2464945679" sldId="2147375891"/>
        </pc:sldMkLst>
        <pc:spChg chg="add del">
          <ac:chgData name="Pirone, Chiara" userId="d9d5b965-323f-43ee-9ca8-6b95d06dc7f9" providerId="ADAL" clId="{EEA06CB2-82F2-4ED8-9229-4AD4686F732E}" dt="2022-05-17T10:52:27.019" v="7109" actId="478"/>
          <ac:spMkLst>
            <pc:docMk/>
            <pc:sldMk cId="2464945679" sldId="2147375891"/>
            <ac:spMk id="12" creationId="{282C3D70-DB65-4F75-BD55-1248494DB8A6}"/>
          </ac:spMkLst>
        </pc:spChg>
        <pc:grpChg chg="mod">
          <ac:chgData name="Pirone, Chiara" userId="d9d5b965-323f-43ee-9ca8-6b95d06dc7f9" providerId="ADAL" clId="{EEA06CB2-82F2-4ED8-9229-4AD4686F732E}" dt="2022-05-17T10:52:12.634" v="7102" actId="207"/>
          <ac:grpSpMkLst>
            <pc:docMk/>
            <pc:sldMk cId="2464945679" sldId="2147375891"/>
            <ac:grpSpMk id="22" creationId="{2E5BE0DB-BCE4-49D2-9A2F-A29CC1B47F5E}"/>
          </ac:grpSpMkLst>
        </pc:grpChg>
        <pc:picChg chg="mod">
          <ac:chgData name="Pirone, Chiara" userId="d9d5b965-323f-43ee-9ca8-6b95d06dc7f9" providerId="ADAL" clId="{EEA06CB2-82F2-4ED8-9229-4AD4686F732E}" dt="2022-05-17T10:52:26.589" v="7108" actId="207"/>
          <ac:picMkLst>
            <pc:docMk/>
            <pc:sldMk cId="2464945679" sldId="2147375891"/>
            <ac:picMk id="20" creationId="{9794F051-C4A2-482A-A57E-ECDB36AB45E7}"/>
          </ac:picMkLst>
        </pc:picChg>
        <pc:picChg chg="add del mod">
          <ac:chgData name="Pirone, Chiara" userId="d9d5b965-323f-43ee-9ca8-6b95d06dc7f9" providerId="ADAL" clId="{EEA06CB2-82F2-4ED8-9229-4AD4686F732E}" dt="2022-05-17T10:52:18.457" v="7106" actId="207"/>
          <ac:picMkLst>
            <pc:docMk/>
            <pc:sldMk cId="2464945679" sldId="2147375891"/>
            <ac:picMk id="21" creationId="{E43615AA-BBE5-48C9-A207-C7D4EE13A8A0}"/>
          </ac:picMkLst>
        </pc:picChg>
      </pc:sldChg>
      <pc:sldChg chg="addSp delSp modSp add mod setBg">
        <pc:chgData name="Pirone, Chiara" userId="d9d5b965-323f-43ee-9ca8-6b95d06dc7f9" providerId="ADAL" clId="{EEA06CB2-82F2-4ED8-9229-4AD4686F732E}" dt="2022-05-17T13:52:23.825" v="8441" actId="113"/>
        <pc:sldMkLst>
          <pc:docMk/>
          <pc:sldMk cId="3763822064" sldId="2147375892"/>
        </pc:sldMkLst>
        <pc:spChg chg="mod topLvl">
          <ac:chgData name="Pirone, Chiara" userId="d9d5b965-323f-43ee-9ca8-6b95d06dc7f9" providerId="ADAL" clId="{EEA06CB2-82F2-4ED8-9229-4AD4686F732E}" dt="2022-05-17T13:52:23.825" v="8441" actId="113"/>
          <ac:spMkLst>
            <pc:docMk/>
            <pc:sldMk cId="3763822064" sldId="2147375892"/>
            <ac:spMk id="43" creationId="{07E76D42-461E-4229-923F-B86EFD0D4304}"/>
          </ac:spMkLst>
        </pc:spChg>
        <pc:spChg chg="mod topLvl">
          <ac:chgData name="Pirone, Chiara" userId="d9d5b965-323f-43ee-9ca8-6b95d06dc7f9" providerId="ADAL" clId="{EEA06CB2-82F2-4ED8-9229-4AD4686F732E}" dt="2022-05-17T11:13:45.143" v="7676" actId="207"/>
          <ac:spMkLst>
            <pc:docMk/>
            <pc:sldMk cId="3763822064" sldId="2147375892"/>
            <ac:spMk id="45" creationId="{41FE7439-9497-4BF7-8907-BDAAECD8F718}"/>
          </ac:spMkLst>
        </pc:spChg>
        <pc:spChg chg="mod topLvl">
          <ac:chgData name="Pirone, Chiara" userId="d9d5b965-323f-43ee-9ca8-6b95d06dc7f9" providerId="ADAL" clId="{EEA06CB2-82F2-4ED8-9229-4AD4686F732E}" dt="2022-05-17T11:13:45.143" v="7676" actId="207"/>
          <ac:spMkLst>
            <pc:docMk/>
            <pc:sldMk cId="3763822064" sldId="2147375892"/>
            <ac:spMk id="47" creationId="{5BA72113-EAC5-4B5B-AEF5-4D86CA7EC838}"/>
          </ac:spMkLst>
        </pc:spChg>
        <pc:spChg chg="mod topLvl">
          <ac:chgData name="Pirone, Chiara" userId="d9d5b965-323f-43ee-9ca8-6b95d06dc7f9" providerId="ADAL" clId="{EEA06CB2-82F2-4ED8-9229-4AD4686F732E}" dt="2022-05-17T11:13:45.143" v="7676" actId="207"/>
          <ac:spMkLst>
            <pc:docMk/>
            <pc:sldMk cId="3763822064" sldId="2147375892"/>
            <ac:spMk id="51" creationId="{DAABB292-B75E-4A2D-A4EF-50455E17B2DE}"/>
          </ac:spMkLst>
        </pc:spChg>
        <pc:spChg chg="mod topLvl">
          <ac:chgData name="Pirone, Chiara" userId="d9d5b965-323f-43ee-9ca8-6b95d06dc7f9" providerId="ADAL" clId="{EEA06CB2-82F2-4ED8-9229-4AD4686F732E}" dt="2022-05-17T11:13:45.143" v="7676" actId="207"/>
          <ac:spMkLst>
            <pc:docMk/>
            <pc:sldMk cId="3763822064" sldId="2147375892"/>
            <ac:spMk id="53" creationId="{7B5CBACF-35E4-463B-B7A2-9F8483C3BD34}"/>
          </ac:spMkLst>
        </pc:spChg>
        <pc:grpChg chg="del">
          <ac:chgData name="Pirone, Chiara" userId="d9d5b965-323f-43ee-9ca8-6b95d06dc7f9" providerId="ADAL" clId="{EEA06CB2-82F2-4ED8-9229-4AD4686F732E}" dt="2022-05-17T11:09:08.568" v="7525" actId="165"/>
          <ac:grpSpMkLst>
            <pc:docMk/>
            <pc:sldMk cId="3763822064" sldId="2147375892"/>
            <ac:grpSpMk id="22" creationId="{7894C7DF-A04E-4C8B-BFF2-2E2892EAA41D}"/>
          </ac:grpSpMkLst>
        </pc:grpChg>
        <pc:grpChg chg="del">
          <ac:chgData name="Pirone, Chiara" userId="d9d5b965-323f-43ee-9ca8-6b95d06dc7f9" providerId="ADAL" clId="{EEA06CB2-82F2-4ED8-9229-4AD4686F732E}" dt="2022-05-17T11:09:08.568" v="7525" actId="165"/>
          <ac:grpSpMkLst>
            <pc:docMk/>
            <pc:sldMk cId="3763822064" sldId="2147375892"/>
            <ac:grpSpMk id="23" creationId="{2D2ABA3E-A3B6-43B4-946E-64A93E3A1002}"/>
          </ac:grpSpMkLst>
        </pc:grpChg>
        <pc:grpChg chg="del">
          <ac:chgData name="Pirone, Chiara" userId="d9d5b965-323f-43ee-9ca8-6b95d06dc7f9" providerId="ADAL" clId="{EEA06CB2-82F2-4ED8-9229-4AD4686F732E}" dt="2022-05-17T11:09:08.568" v="7525" actId="165"/>
          <ac:grpSpMkLst>
            <pc:docMk/>
            <pc:sldMk cId="3763822064" sldId="2147375892"/>
            <ac:grpSpMk id="24" creationId="{4C0F39D1-F01F-4D5A-B440-F8671DCE69AA}"/>
          </ac:grpSpMkLst>
        </pc:grpChg>
        <pc:grpChg chg="del">
          <ac:chgData name="Pirone, Chiara" userId="d9d5b965-323f-43ee-9ca8-6b95d06dc7f9" providerId="ADAL" clId="{EEA06CB2-82F2-4ED8-9229-4AD4686F732E}" dt="2022-05-17T11:09:08.568" v="7525" actId="165"/>
          <ac:grpSpMkLst>
            <pc:docMk/>
            <pc:sldMk cId="3763822064" sldId="2147375892"/>
            <ac:grpSpMk id="25" creationId="{280F47FC-CB2D-418A-8C31-818FB7A4A7FE}"/>
          </ac:grpSpMkLst>
        </pc:grpChg>
        <pc:grpChg chg="del">
          <ac:chgData name="Pirone, Chiara" userId="d9d5b965-323f-43ee-9ca8-6b95d06dc7f9" providerId="ADAL" clId="{EEA06CB2-82F2-4ED8-9229-4AD4686F732E}" dt="2022-05-17T11:09:08.568" v="7525" actId="165"/>
          <ac:grpSpMkLst>
            <pc:docMk/>
            <pc:sldMk cId="3763822064" sldId="2147375892"/>
            <ac:grpSpMk id="26" creationId="{E2D88571-BB91-4594-A304-AA79E1CD03E4}"/>
          </ac:grpSpMkLst>
        </pc:grpChg>
        <pc:picChg chg="add mod">
          <ac:chgData name="Pirone, Chiara" userId="d9d5b965-323f-43ee-9ca8-6b95d06dc7f9" providerId="ADAL" clId="{EEA06CB2-82F2-4ED8-9229-4AD4686F732E}" dt="2022-05-17T11:14:31.163" v="7686" actId="1076"/>
          <ac:picMkLst>
            <pc:docMk/>
            <pc:sldMk cId="3763822064" sldId="2147375892"/>
            <ac:picMk id="7" creationId="{462F6429-1F98-4A0D-A059-5BC630FEBE8A}"/>
          </ac:picMkLst>
        </pc:picChg>
        <pc:picChg chg="mod topLvl">
          <ac:chgData name="Pirone, Chiara" userId="d9d5b965-323f-43ee-9ca8-6b95d06dc7f9" providerId="ADAL" clId="{EEA06CB2-82F2-4ED8-9229-4AD4686F732E}" dt="2022-05-17T11:13:01.167" v="7670" actId="14100"/>
          <ac:picMkLst>
            <pc:docMk/>
            <pc:sldMk cId="3763822064" sldId="2147375892"/>
            <ac:picMk id="97" creationId="{D19A8E89-0434-4BC0-AC44-8FE634B5E905}"/>
          </ac:picMkLst>
        </pc:picChg>
        <pc:picChg chg="mod topLvl">
          <ac:chgData name="Pirone, Chiara" userId="d9d5b965-323f-43ee-9ca8-6b95d06dc7f9" providerId="ADAL" clId="{EEA06CB2-82F2-4ED8-9229-4AD4686F732E}" dt="2022-05-17T11:13:01.167" v="7670" actId="14100"/>
          <ac:picMkLst>
            <pc:docMk/>
            <pc:sldMk cId="3763822064" sldId="2147375892"/>
            <ac:picMk id="110" creationId="{9174C8C6-F1BF-4286-BCFE-D434B3065C82}"/>
          </ac:picMkLst>
        </pc:picChg>
        <pc:picChg chg="mod topLvl">
          <ac:chgData name="Pirone, Chiara" userId="d9d5b965-323f-43ee-9ca8-6b95d06dc7f9" providerId="ADAL" clId="{EEA06CB2-82F2-4ED8-9229-4AD4686F732E}" dt="2022-05-17T11:13:01.167" v="7670" actId="14100"/>
          <ac:picMkLst>
            <pc:docMk/>
            <pc:sldMk cId="3763822064" sldId="2147375892"/>
            <ac:picMk id="112" creationId="{336F53A3-8652-4DA2-A3DC-4F6D01733B08}"/>
          </ac:picMkLst>
        </pc:picChg>
        <pc:picChg chg="mod topLvl">
          <ac:chgData name="Pirone, Chiara" userId="d9d5b965-323f-43ee-9ca8-6b95d06dc7f9" providerId="ADAL" clId="{EEA06CB2-82F2-4ED8-9229-4AD4686F732E}" dt="2022-05-17T11:13:01.167" v="7670" actId="14100"/>
          <ac:picMkLst>
            <pc:docMk/>
            <pc:sldMk cId="3763822064" sldId="2147375892"/>
            <ac:picMk id="113" creationId="{DF0B931A-743D-4E3B-B8FA-D73665C0EC38}"/>
          </ac:picMkLst>
        </pc:picChg>
        <pc:picChg chg="mod topLvl">
          <ac:chgData name="Pirone, Chiara" userId="d9d5b965-323f-43ee-9ca8-6b95d06dc7f9" providerId="ADAL" clId="{EEA06CB2-82F2-4ED8-9229-4AD4686F732E}" dt="2022-05-17T11:13:01.167" v="7670" actId="14100"/>
          <ac:picMkLst>
            <pc:docMk/>
            <pc:sldMk cId="3763822064" sldId="2147375892"/>
            <ac:picMk id="114" creationId="{787811D4-440F-4D1F-B075-05A93893D317}"/>
          </ac:picMkLst>
        </pc:picChg>
        <pc:cxnChg chg="add del mod">
          <ac:chgData name="Pirone, Chiara" userId="d9d5b965-323f-43ee-9ca8-6b95d06dc7f9" providerId="ADAL" clId="{EEA06CB2-82F2-4ED8-9229-4AD4686F732E}" dt="2022-05-17T11:10:30.497" v="7549" actId="478"/>
          <ac:cxnSpMkLst>
            <pc:docMk/>
            <pc:sldMk cId="3763822064" sldId="2147375892"/>
            <ac:cxnSpMk id="3" creationId="{92144AFD-4384-45E0-BD64-F9A9B1F119B9}"/>
          </ac:cxnSpMkLst>
        </pc:cxnChg>
        <pc:cxnChg chg="add mod">
          <ac:chgData name="Pirone, Chiara" userId="d9d5b965-323f-43ee-9ca8-6b95d06dc7f9" providerId="ADAL" clId="{EEA06CB2-82F2-4ED8-9229-4AD4686F732E}" dt="2022-05-17T11:11:53.508" v="7642" actId="208"/>
          <ac:cxnSpMkLst>
            <pc:docMk/>
            <pc:sldMk cId="3763822064" sldId="2147375892"/>
            <ac:cxnSpMk id="5" creationId="{64C8A649-0B24-4EB8-B23A-411A38495822}"/>
          </ac:cxnSpMkLst>
        </pc:cxnChg>
        <pc:cxnChg chg="add del mod">
          <ac:chgData name="Pirone, Chiara" userId="d9d5b965-323f-43ee-9ca8-6b95d06dc7f9" providerId="ADAL" clId="{EEA06CB2-82F2-4ED8-9229-4AD4686F732E}" dt="2022-05-17T11:10:21.393" v="7545" actId="478"/>
          <ac:cxnSpMkLst>
            <pc:docMk/>
            <pc:sldMk cId="3763822064" sldId="2147375892"/>
            <ac:cxnSpMk id="27" creationId="{F4132818-D062-48D6-9E56-C6850300962D}"/>
          </ac:cxnSpMkLst>
        </pc:cxnChg>
        <pc:cxnChg chg="add mod">
          <ac:chgData name="Pirone, Chiara" userId="d9d5b965-323f-43ee-9ca8-6b95d06dc7f9" providerId="ADAL" clId="{EEA06CB2-82F2-4ED8-9229-4AD4686F732E}" dt="2022-05-17T11:11:53.508" v="7642" actId="208"/>
          <ac:cxnSpMkLst>
            <pc:docMk/>
            <pc:sldMk cId="3763822064" sldId="2147375892"/>
            <ac:cxnSpMk id="28" creationId="{A430EECA-0730-4269-A4F9-C810432F9D27}"/>
          </ac:cxnSpMkLst>
        </pc:cxnChg>
      </pc:sldChg>
      <pc:sldChg chg="addSp delSp modSp add mod ord">
        <pc:chgData name="Pirone, Chiara" userId="d9d5b965-323f-43ee-9ca8-6b95d06dc7f9" providerId="ADAL" clId="{EEA06CB2-82F2-4ED8-9229-4AD4686F732E}" dt="2022-05-17T14:59:14.785" v="10894" actId="207"/>
        <pc:sldMkLst>
          <pc:docMk/>
          <pc:sldMk cId="2330110107" sldId="2147375893"/>
        </pc:sldMkLst>
        <pc:spChg chg="add del mod">
          <ac:chgData name="Pirone, Chiara" userId="d9d5b965-323f-43ee-9ca8-6b95d06dc7f9" providerId="ADAL" clId="{EEA06CB2-82F2-4ED8-9229-4AD4686F732E}" dt="2022-05-17T14:55:15.033" v="10733" actId="478"/>
          <ac:spMkLst>
            <pc:docMk/>
            <pc:sldMk cId="2330110107" sldId="2147375893"/>
            <ac:spMk id="32" creationId="{97D786EA-D579-43C9-806D-82F6271F9BA6}"/>
          </ac:spMkLst>
        </pc:spChg>
        <pc:spChg chg="add del mod">
          <ac:chgData name="Pirone, Chiara" userId="d9d5b965-323f-43ee-9ca8-6b95d06dc7f9" providerId="ADAL" clId="{EEA06CB2-82F2-4ED8-9229-4AD4686F732E}" dt="2022-05-17T14:43:20.207" v="9985" actId="478"/>
          <ac:spMkLst>
            <pc:docMk/>
            <pc:sldMk cId="2330110107" sldId="2147375893"/>
            <ac:spMk id="33" creationId="{8B9FCCAC-9401-436B-B824-5AE24A70DE50}"/>
          </ac:spMkLst>
        </pc:spChg>
        <pc:spChg chg="add mod">
          <ac:chgData name="Pirone, Chiara" userId="d9d5b965-323f-43ee-9ca8-6b95d06dc7f9" providerId="ADAL" clId="{EEA06CB2-82F2-4ED8-9229-4AD4686F732E}" dt="2022-05-17T14:56:02.002" v="10773" actId="1036"/>
          <ac:spMkLst>
            <pc:docMk/>
            <pc:sldMk cId="2330110107" sldId="2147375893"/>
            <ac:spMk id="35" creationId="{3FA8FBFB-D93B-4C9D-98FD-6265FBCADC74}"/>
          </ac:spMkLst>
        </pc:spChg>
        <pc:spChg chg="add mod">
          <ac:chgData name="Pirone, Chiara" userId="d9d5b965-323f-43ee-9ca8-6b95d06dc7f9" providerId="ADAL" clId="{EEA06CB2-82F2-4ED8-9229-4AD4686F732E}" dt="2022-05-17T14:59:04.253" v="10890" actId="207"/>
          <ac:spMkLst>
            <pc:docMk/>
            <pc:sldMk cId="2330110107" sldId="2147375893"/>
            <ac:spMk id="37" creationId="{16DBECC7-F804-4199-A06A-B2C003502E96}"/>
          </ac:spMkLst>
        </pc:spChg>
        <pc:spChg chg="add mod">
          <ac:chgData name="Pirone, Chiara" userId="d9d5b965-323f-43ee-9ca8-6b95d06dc7f9" providerId="ADAL" clId="{EEA06CB2-82F2-4ED8-9229-4AD4686F732E}" dt="2022-05-17T14:59:06.895" v="10891" actId="207"/>
          <ac:spMkLst>
            <pc:docMk/>
            <pc:sldMk cId="2330110107" sldId="2147375893"/>
            <ac:spMk id="39" creationId="{0F1E94D8-17DC-4D38-B7D9-B7F2C52868C6}"/>
          </ac:spMkLst>
        </pc:spChg>
        <pc:spChg chg="add mod">
          <ac:chgData name="Pirone, Chiara" userId="d9d5b965-323f-43ee-9ca8-6b95d06dc7f9" providerId="ADAL" clId="{EEA06CB2-82F2-4ED8-9229-4AD4686F732E}" dt="2022-05-17T14:59:09.189" v="10892" actId="207"/>
          <ac:spMkLst>
            <pc:docMk/>
            <pc:sldMk cId="2330110107" sldId="2147375893"/>
            <ac:spMk id="40" creationId="{64702EDE-07C4-4234-9D38-37B45D0D7B3F}"/>
          </ac:spMkLst>
        </pc:spChg>
        <pc:spChg chg="add del mod">
          <ac:chgData name="Pirone, Chiara" userId="d9d5b965-323f-43ee-9ca8-6b95d06dc7f9" providerId="ADAL" clId="{EEA06CB2-82F2-4ED8-9229-4AD4686F732E}" dt="2022-05-17T14:59:11.701" v="10893" actId="207"/>
          <ac:spMkLst>
            <pc:docMk/>
            <pc:sldMk cId="2330110107" sldId="2147375893"/>
            <ac:spMk id="43" creationId="{66797779-80F6-41D3-B77A-2EE4A7ED6033}"/>
          </ac:spMkLst>
        </pc:spChg>
        <pc:spChg chg="add mod">
          <ac:chgData name="Pirone, Chiara" userId="d9d5b965-323f-43ee-9ca8-6b95d06dc7f9" providerId="ADAL" clId="{EEA06CB2-82F2-4ED8-9229-4AD4686F732E}" dt="2022-05-17T14:59:14.785" v="10894" actId="207"/>
          <ac:spMkLst>
            <pc:docMk/>
            <pc:sldMk cId="2330110107" sldId="2147375893"/>
            <ac:spMk id="44" creationId="{B84437D6-CFEF-4966-941E-FCBB8F26AF72}"/>
          </ac:spMkLst>
        </pc:spChg>
        <pc:spChg chg="del">
          <ac:chgData name="Pirone, Chiara" userId="d9d5b965-323f-43ee-9ca8-6b95d06dc7f9" providerId="ADAL" clId="{EEA06CB2-82F2-4ED8-9229-4AD4686F732E}" dt="2022-05-17T11:21:45.029" v="7937" actId="478"/>
          <ac:spMkLst>
            <pc:docMk/>
            <pc:sldMk cId="2330110107" sldId="2147375893"/>
            <ac:spMk id="48" creationId="{8776D5D4-3E1E-4D50-9C54-1153999E0436}"/>
          </ac:spMkLst>
        </pc:spChg>
        <pc:spChg chg="del">
          <ac:chgData name="Pirone, Chiara" userId="d9d5b965-323f-43ee-9ca8-6b95d06dc7f9" providerId="ADAL" clId="{EEA06CB2-82F2-4ED8-9229-4AD4686F732E}" dt="2022-05-17T11:21:45.029" v="7937" actId="478"/>
          <ac:spMkLst>
            <pc:docMk/>
            <pc:sldMk cId="2330110107" sldId="2147375893"/>
            <ac:spMk id="49" creationId="{B273DBA6-46E1-4D87-9F6F-48F225E91475}"/>
          </ac:spMkLst>
        </pc:spChg>
        <pc:spChg chg="del">
          <ac:chgData name="Pirone, Chiara" userId="d9d5b965-323f-43ee-9ca8-6b95d06dc7f9" providerId="ADAL" clId="{EEA06CB2-82F2-4ED8-9229-4AD4686F732E}" dt="2022-05-17T11:21:45.029" v="7937" actId="478"/>
          <ac:spMkLst>
            <pc:docMk/>
            <pc:sldMk cId="2330110107" sldId="2147375893"/>
            <ac:spMk id="50" creationId="{1979AF55-788D-41D1-9FC0-723D0C95EA1F}"/>
          </ac:spMkLst>
        </pc:spChg>
        <pc:spChg chg="del">
          <ac:chgData name="Pirone, Chiara" userId="d9d5b965-323f-43ee-9ca8-6b95d06dc7f9" providerId="ADAL" clId="{EEA06CB2-82F2-4ED8-9229-4AD4686F732E}" dt="2022-05-17T11:21:46.301" v="7938" actId="478"/>
          <ac:spMkLst>
            <pc:docMk/>
            <pc:sldMk cId="2330110107" sldId="2147375893"/>
            <ac:spMk id="51" creationId="{C5817DDF-C1BC-422B-A066-978545E91955}"/>
          </ac:spMkLst>
        </pc:spChg>
        <pc:spChg chg="add del mod">
          <ac:chgData name="Pirone, Chiara" userId="d9d5b965-323f-43ee-9ca8-6b95d06dc7f9" providerId="ADAL" clId="{EEA06CB2-82F2-4ED8-9229-4AD4686F732E}" dt="2022-05-17T14:54:55.200" v="10718" actId="478"/>
          <ac:spMkLst>
            <pc:docMk/>
            <pc:sldMk cId="2330110107" sldId="2147375893"/>
            <ac:spMk id="61" creationId="{F0918AC2-26BF-4183-9393-7A62657EB5B4}"/>
          </ac:spMkLst>
        </pc:spChg>
        <pc:spChg chg="add del mod">
          <ac:chgData name="Pirone, Chiara" userId="d9d5b965-323f-43ee-9ca8-6b95d06dc7f9" providerId="ADAL" clId="{EEA06CB2-82F2-4ED8-9229-4AD4686F732E}" dt="2022-05-17T14:54:55.200" v="10718" actId="478"/>
          <ac:spMkLst>
            <pc:docMk/>
            <pc:sldMk cId="2330110107" sldId="2147375893"/>
            <ac:spMk id="62" creationId="{361D5D21-2421-4CDA-8A1E-2C9A5428D257}"/>
          </ac:spMkLst>
        </pc:spChg>
        <pc:spChg chg="del mod">
          <ac:chgData name="Pirone, Chiara" userId="d9d5b965-323f-43ee-9ca8-6b95d06dc7f9" providerId="ADAL" clId="{EEA06CB2-82F2-4ED8-9229-4AD4686F732E}" dt="2022-05-17T14:43:13.443" v="9982" actId="478"/>
          <ac:spMkLst>
            <pc:docMk/>
            <pc:sldMk cId="2330110107" sldId="2147375893"/>
            <ac:spMk id="68" creationId="{AAFCE447-AC7E-4C7B-948E-325CA7DBC734}"/>
          </ac:spMkLst>
        </pc:spChg>
        <pc:spChg chg="add del mod">
          <ac:chgData name="Pirone, Chiara" userId="d9d5b965-323f-43ee-9ca8-6b95d06dc7f9" providerId="ADAL" clId="{EEA06CB2-82F2-4ED8-9229-4AD4686F732E}" dt="2022-05-17T14:54:58.320" v="10722" actId="571"/>
          <ac:spMkLst>
            <pc:docMk/>
            <pc:sldMk cId="2330110107" sldId="2147375893"/>
            <ac:spMk id="69" creationId="{6EC0E6C6-E6CB-4B52-86D3-0A681C7EC6E4}"/>
          </ac:spMkLst>
        </pc:spChg>
        <pc:spChg chg="add del">
          <ac:chgData name="Pirone, Chiara" userId="d9d5b965-323f-43ee-9ca8-6b95d06dc7f9" providerId="ADAL" clId="{EEA06CB2-82F2-4ED8-9229-4AD4686F732E}" dt="2022-05-17T14:56:33.183" v="10787" actId="22"/>
          <ac:spMkLst>
            <pc:docMk/>
            <pc:sldMk cId="2330110107" sldId="2147375893"/>
            <ac:spMk id="72" creationId="{9D8C5ECE-058B-44AE-950E-15F1AA2EE3AA}"/>
          </ac:spMkLst>
        </pc:spChg>
        <pc:graphicFrameChg chg="del">
          <ac:chgData name="Pirone, Chiara" userId="d9d5b965-323f-43ee-9ca8-6b95d06dc7f9" providerId="ADAL" clId="{EEA06CB2-82F2-4ED8-9229-4AD4686F732E}" dt="2022-05-17T11:21:43.168" v="7936" actId="478"/>
          <ac:graphicFrameMkLst>
            <pc:docMk/>
            <pc:sldMk cId="2330110107" sldId="2147375893"/>
            <ac:graphicFrameMk id="42" creationId="{7A10976D-E22A-4775-BDD2-F62ED3BFE194}"/>
          </ac:graphicFrameMkLst>
        </pc:graphicFrameChg>
        <pc:picChg chg="add mod">
          <ac:chgData name="Pirone, Chiara" userId="d9d5b965-323f-43ee-9ca8-6b95d06dc7f9" providerId="ADAL" clId="{EEA06CB2-82F2-4ED8-9229-4AD4686F732E}" dt="2022-05-17T14:55:03.856" v="10728" actId="1038"/>
          <ac:picMkLst>
            <pc:docMk/>
            <pc:sldMk cId="2330110107" sldId="2147375893"/>
            <ac:picMk id="6" creationId="{42A10AB8-2269-4463-BB81-A9CF6B290B6F}"/>
          </ac:picMkLst>
        </pc:picChg>
        <pc:picChg chg="add mod">
          <ac:chgData name="Pirone, Chiara" userId="d9d5b965-323f-43ee-9ca8-6b95d06dc7f9" providerId="ADAL" clId="{EEA06CB2-82F2-4ED8-9229-4AD4686F732E}" dt="2022-05-17T14:55:07.601" v="10729" actId="12788"/>
          <ac:picMkLst>
            <pc:docMk/>
            <pc:sldMk cId="2330110107" sldId="2147375893"/>
            <ac:picMk id="8" creationId="{13F4512C-9844-4560-9866-749E3C881A51}"/>
          </ac:picMkLst>
        </pc:picChg>
        <pc:picChg chg="add mod">
          <ac:chgData name="Pirone, Chiara" userId="d9d5b965-323f-43ee-9ca8-6b95d06dc7f9" providerId="ADAL" clId="{EEA06CB2-82F2-4ED8-9229-4AD4686F732E}" dt="2022-05-17T14:55:57.578" v="10759" actId="1036"/>
          <ac:picMkLst>
            <pc:docMk/>
            <pc:sldMk cId="2330110107" sldId="2147375893"/>
            <ac:picMk id="10" creationId="{D0FBA1A1-656A-4480-9AF7-0EF59D6393C3}"/>
          </ac:picMkLst>
        </pc:picChg>
        <pc:picChg chg="add mod">
          <ac:chgData name="Pirone, Chiara" userId="d9d5b965-323f-43ee-9ca8-6b95d06dc7f9" providerId="ADAL" clId="{EEA06CB2-82F2-4ED8-9229-4AD4686F732E}" dt="2022-05-17T14:55:57.578" v="10759" actId="1036"/>
          <ac:picMkLst>
            <pc:docMk/>
            <pc:sldMk cId="2330110107" sldId="2147375893"/>
            <ac:picMk id="12" creationId="{A8DE5BAC-1B52-4AD0-8A78-69D886A68909}"/>
          </ac:picMkLst>
        </pc:picChg>
        <pc:picChg chg="add mod">
          <ac:chgData name="Pirone, Chiara" userId="d9d5b965-323f-43ee-9ca8-6b95d06dc7f9" providerId="ADAL" clId="{EEA06CB2-82F2-4ED8-9229-4AD4686F732E}" dt="2022-05-17T14:39:03.321" v="9764"/>
          <ac:picMkLst>
            <pc:docMk/>
            <pc:sldMk cId="2330110107" sldId="2147375893"/>
            <ac:picMk id="34" creationId="{22A4315A-59A5-4C3F-B174-C258246F4AF5}"/>
          </ac:picMkLst>
        </pc:picChg>
        <pc:picChg chg="add del mod">
          <ac:chgData name="Pirone, Chiara" userId="d9d5b965-323f-43ee-9ca8-6b95d06dc7f9" providerId="ADAL" clId="{EEA06CB2-82F2-4ED8-9229-4AD4686F732E}" dt="2022-05-17T14:51:04.454" v="10312" actId="478"/>
          <ac:picMkLst>
            <pc:docMk/>
            <pc:sldMk cId="2330110107" sldId="2147375893"/>
            <ac:picMk id="38" creationId="{65C7544C-1942-4B24-A408-2AAC7942F714}"/>
          </ac:picMkLst>
        </pc:picChg>
        <pc:picChg chg="add del mod">
          <ac:chgData name="Pirone, Chiara" userId="d9d5b965-323f-43ee-9ca8-6b95d06dc7f9" providerId="ADAL" clId="{EEA06CB2-82F2-4ED8-9229-4AD4686F732E}" dt="2022-05-17T14:51:04.454" v="10312" actId="478"/>
          <ac:picMkLst>
            <pc:docMk/>
            <pc:sldMk cId="2330110107" sldId="2147375893"/>
            <ac:picMk id="41" creationId="{6616DB95-E721-4040-834A-99998CC4E653}"/>
          </ac:picMkLst>
        </pc:picChg>
        <pc:picChg chg="add del mod">
          <ac:chgData name="Pirone, Chiara" userId="d9d5b965-323f-43ee-9ca8-6b95d06dc7f9" providerId="ADAL" clId="{EEA06CB2-82F2-4ED8-9229-4AD4686F732E}" dt="2022-05-17T14:51:04.454" v="10312" actId="478"/>
          <ac:picMkLst>
            <pc:docMk/>
            <pc:sldMk cId="2330110107" sldId="2147375893"/>
            <ac:picMk id="45" creationId="{3D61C5DF-56FB-4A59-94BA-3A7DE722BB34}"/>
          </ac:picMkLst>
        </pc:picChg>
        <pc:picChg chg="add del mod">
          <ac:chgData name="Pirone, Chiara" userId="d9d5b965-323f-43ee-9ca8-6b95d06dc7f9" providerId="ADAL" clId="{EEA06CB2-82F2-4ED8-9229-4AD4686F732E}" dt="2022-05-17T14:51:04.454" v="10312" actId="478"/>
          <ac:picMkLst>
            <pc:docMk/>
            <pc:sldMk cId="2330110107" sldId="2147375893"/>
            <ac:picMk id="46" creationId="{17B98C35-48CE-4288-9661-B963A8060318}"/>
          </ac:picMkLst>
        </pc:picChg>
      </pc:sldChg>
      <pc:sldChg chg="addSp delSp modSp add mod">
        <pc:chgData name="Pirone, Chiara" userId="d9d5b965-323f-43ee-9ca8-6b95d06dc7f9" providerId="ADAL" clId="{EEA06CB2-82F2-4ED8-9229-4AD4686F732E}" dt="2022-05-17T15:13:50.881" v="12025" actId="1076"/>
        <pc:sldMkLst>
          <pc:docMk/>
          <pc:sldMk cId="252340116" sldId="2147375894"/>
        </pc:sldMkLst>
        <pc:spChg chg="del">
          <ac:chgData name="Pirone, Chiara" userId="d9d5b965-323f-43ee-9ca8-6b95d06dc7f9" providerId="ADAL" clId="{EEA06CB2-82F2-4ED8-9229-4AD4686F732E}" dt="2022-05-17T11:22:19.358" v="7949" actId="478"/>
          <ac:spMkLst>
            <pc:docMk/>
            <pc:sldMk cId="252340116" sldId="2147375894"/>
            <ac:spMk id="28" creationId="{603473CA-87CE-40AA-90E6-2067565616FA}"/>
          </ac:spMkLst>
        </pc:spChg>
        <pc:spChg chg="del">
          <ac:chgData name="Pirone, Chiara" userId="d9d5b965-323f-43ee-9ca8-6b95d06dc7f9" providerId="ADAL" clId="{EEA06CB2-82F2-4ED8-9229-4AD4686F732E}" dt="2022-05-17T11:22:19.358" v="7949" actId="478"/>
          <ac:spMkLst>
            <pc:docMk/>
            <pc:sldMk cId="252340116" sldId="2147375894"/>
            <ac:spMk id="29" creationId="{FE864DAA-54B3-43F4-B925-B1133F22C90B}"/>
          </ac:spMkLst>
        </pc:spChg>
        <pc:spChg chg="mod">
          <ac:chgData name="Pirone, Chiara" userId="d9d5b965-323f-43ee-9ca8-6b95d06dc7f9" providerId="ADAL" clId="{EEA06CB2-82F2-4ED8-9229-4AD4686F732E}" dt="2022-05-17T11:22:28.729" v="7951"/>
          <ac:spMkLst>
            <pc:docMk/>
            <pc:sldMk cId="252340116" sldId="2147375894"/>
            <ac:spMk id="33" creationId="{A2BD1D6B-3EE1-47A1-BB8F-51053EF72829}"/>
          </ac:spMkLst>
        </pc:spChg>
        <pc:spChg chg="mod">
          <ac:chgData name="Pirone, Chiara" userId="d9d5b965-323f-43ee-9ca8-6b95d06dc7f9" providerId="ADAL" clId="{EEA06CB2-82F2-4ED8-9229-4AD4686F732E}" dt="2022-05-17T11:22:28.729" v="7951"/>
          <ac:spMkLst>
            <pc:docMk/>
            <pc:sldMk cId="252340116" sldId="2147375894"/>
            <ac:spMk id="34" creationId="{07193845-AEE8-4079-B987-D7710B3E8798}"/>
          </ac:spMkLst>
        </pc:spChg>
        <pc:spChg chg="mod">
          <ac:chgData name="Pirone, Chiara" userId="d9d5b965-323f-43ee-9ca8-6b95d06dc7f9" providerId="ADAL" clId="{EEA06CB2-82F2-4ED8-9229-4AD4686F732E}" dt="2022-05-17T11:22:28.729" v="7951"/>
          <ac:spMkLst>
            <pc:docMk/>
            <pc:sldMk cId="252340116" sldId="2147375894"/>
            <ac:spMk id="35" creationId="{D9F593D7-8FC4-4CCA-8ECE-EBBE6593780B}"/>
          </ac:spMkLst>
        </pc:spChg>
        <pc:spChg chg="del">
          <ac:chgData name="Pirone, Chiara" userId="d9d5b965-323f-43ee-9ca8-6b95d06dc7f9" providerId="ADAL" clId="{EEA06CB2-82F2-4ED8-9229-4AD4686F732E}" dt="2022-05-17T11:22:19.358" v="7949" actId="478"/>
          <ac:spMkLst>
            <pc:docMk/>
            <pc:sldMk cId="252340116" sldId="2147375894"/>
            <ac:spMk id="36" creationId="{A0657F3F-3FEB-48B6-BEF5-92895BEDBF6C}"/>
          </ac:spMkLst>
        </pc:spChg>
        <pc:spChg chg="mod">
          <ac:chgData name="Pirone, Chiara" userId="d9d5b965-323f-43ee-9ca8-6b95d06dc7f9" providerId="ADAL" clId="{EEA06CB2-82F2-4ED8-9229-4AD4686F732E}" dt="2022-05-17T11:22:28.729" v="7951"/>
          <ac:spMkLst>
            <pc:docMk/>
            <pc:sldMk cId="252340116" sldId="2147375894"/>
            <ac:spMk id="37" creationId="{3EFFF0DA-D22D-41AE-AD9C-B9BE0D66B80C}"/>
          </ac:spMkLst>
        </pc:spChg>
        <pc:spChg chg="mod">
          <ac:chgData name="Pirone, Chiara" userId="d9d5b965-323f-43ee-9ca8-6b95d06dc7f9" providerId="ADAL" clId="{EEA06CB2-82F2-4ED8-9229-4AD4686F732E}" dt="2022-05-17T11:22:28.729" v="7951"/>
          <ac:spMkLst>
            <pc:docMk/>
            <pc:sldMk cId="252340116" sldId="2147375894"/>
            <ac:spMk id="38" creationId="{82C82FF7-B2EA-478D-9A02-455AB206FA0C}"/>
          </ac:spMkLst>
        </pc:spChg>
        <pc:spChg chg="mod">
          <ac:chgData name="Pirone, Chiara" userId="d9d5b965-323f-43ee-9ca8-6b95d06dc7f9" providerId="ADAL" clId="{EEA06CB2-82F2-4ED8-9229-4AD4686F732E}" dt="2022-05-17T11:22:28.729" v="7951"/>
          <ac:spMkLst>
            <pc:docMk/>
            <pc:sldMk cId="252340116" sldId="2147375894"/>
            <ac:spMk id="39" creationId="{956B7D67-CE02-4368-9D16-88D34CEF42C4}"/>
          </ac:spMkLst>
        </pc:spChg>
        <pc:spChg chg="mod">
          <ac:chgData name="Pirone, Chiara" userId="d9d5b965-323f-43ee-9ca8-6b95d06dc7f9" providerId="ADAL" clId="{EEA06CB2-82F2-4ED8-9229-4AD4686F732E}" dt="2022-05-17T11:22:28.729" v="7951"/>
          <ac:spMkLst>
            <pc:docMk/>
            <pc:sldMk cId="252340116" sldId="2147375894"/>
            <ac:spMk id="40" creationId="{A6C66379-BF43-46BC-A5A8-8807C4FB9FA7}"/>
          </ac:spMkLst>
        </pc:spChg>
        <pc:spChg chg="add del mod">
          <ac:chgData name="Pirone, Chiara" userId="d9d5b965-323f-43ee-9ca8-6b95d06dc7f9" providerId="ADAL" clId="{EEA06CB2-82F2-4ED8-9229-4AD4686F732E}" dt="2022-05-17T11:22:42.496" v="7955" actId="478"/>
          <ac:spMkLst>
            <pc:docMk/>
            <pc:sldMk cId="252340116" sldId="2147375894"/>
            <ac:spMk id="41" creationId="{D09426C0-42CF-43FF-B80F-399A82FE5237}"/>
          </ac:spMkLst>
        </pc:spChg>
        <pc:spChg chg="add del mod">
          <ac:chgData name="Pirone, Chiara" userId="d9d5b965-323f-43ee-9ca8-6b95d06dc7f9" providerId="ADAL" clId="{EEA06CB2-82F2-4ED8-9229-4AD4686F732E}" dt="2022-05-17T11:22:39.806" v="7954" actId="478"/>
          <ac:spMkLst>
            <pc:docMk/>
            <pc:sldMk cId="252340116" sldId="2147375894"/>
            <ac:spMk id="42" creationId="{F356C84A-EADF-4388-B119-424D0A3D90FF}"/>
          </ac:spMkLst>
        </pc:spChg>
        <pc:spChg chg="add del mod">
          <ac:chgData name="Pirone, Chiara" userId="d9d5b965-323f-43ee-9ca8-6b95d06dc7f9" providerId="ADAL" clId="{EEA06CB2-82F2-4ED8-9229-4AD4686F732E}" dt="2022-05-17T11:22:42.496" v="7955" actId="478"/>
          <ac:spMkLst>
            <pc:docMk/>
            <pc:sldMk cId="252340116" sldId="2147375894"/>
            <ac:spMk id="43" creationId="{C7D422C4-7C6F-45AE-A403-7DA8D9BDEF92}"/>
          </ac:spMkLst>
        </pc:spChg>
        <pc:spChg chg="add del mod">
          <ac:chgData name="Pirone, Chiara" userId="d9d5b965-323f-43ee-9ca8-6b95d06dc7f9" providerId="ADAL" clId="{EEA06CB2-82F2-4ED8-9229-4AD4686F732E}" dt="2022-05-17T11:22:42.496" v="7955" actId="478"/>
          <ac:spMkLst>
            <pc:docMk/>
            <pc:sldMk cId="252340116" sldId="2147375894"/>
            <ac:spMk id="44" creationId="{55006BD3-495D-4AC3-9562-7F90181179D0}"/>
          </ac:spMkLst>
        </pc:spChg>
        <pc:spChg chg="add mod">
          <ac:chgData name="Pirone, Chiara" userId="d9d5b965-323f-43ee-9ca8-6b95d06dc7f9" providerId="ADAL" clId="{EEA06CB2-82F2-4ED8-9229-4AD4686F732E}" dt="2022-05-17T15:13:36.221" v="12023" actId="14100"/>
          <ac:spMkLst>
            <pc:docMk/>
            <pc:sldMk cId="252340116" sldId="2147375894"/>
            <ac:spMk id="46" creationId="{18F2E1C2-EF86-46EA-8597-08DEF044D8F4}"/>
          </ac:spMkLst>
        </pc:spChg>
        <pc:spChg chg="add mod">
          <ac:chgData name="Pirone, Chiara" userId="d9d5b965-323f-43ee-9ca8-6b95d06dc7f9" providerId="ADAL" clId="{EEA06CB2-82F2-4ED8-9229-4AD4686F732E}" dt="2022-05-17T15:01:42.765" v="11157" actId="1036"/>
          <ac:spMkLst>
            <pc:docMk/>
            <pc:sldMk cId="252340116" sldId="2147375894"/>
            <ac:spMk id="47" creationId="{D59E5710-72AD-4CFC-B794-3B112EE94534}"/>
          </ac:spMkLst>
        </pc:spChg>
        <pc:spChg chg="add mod">
          <ac:chgData name="Pirone, Chiara" userId="d9d5b965-323f-43ee-9ca8-6b95d06dc7f9" providerId="ADAL" clId="{EEA06CB2-82F2-4ED8-9229-4AD4686F732E}" dt="2022-05-17T15:01:39.076" v="11151" actId="20577"/>
          <ac:spMkLst>
            <pc:docMk/>
            <pc:sldMk cId="252340116" sldId="2147375894"/>
            <ac:spMk id="49" creationId="{6B7E2E6F-EFE7-4FD0-9ECD-E11BCBD47326}"/>
          </ac:spMkLst>
        </pc:spChg>
        <pc:spChg chg="add mod">
          <ac:chgData name="Pirone, Chiara" userId="d9d5b965-323f-43ee-9ca8-6b95d06dc7f9" providerId="ADAL" clId="{EEA06CB2-82F2-4ED8-9229-4AD4686F732E}" dt="2022-05-17T15:13:50.881" v="12025" actId="1076"/>
          <ac:spMkLst>
            <pc:docMk/>
            <pc:sldMk cId="252340116" sldId="2147375894"/>
            <ac:spMk id="50" creationId="{9FC0A76B-DD75-41CA-9E5B-50622DD8973A}"/>
          </ac:spMkLst>
        </pc:spChg>
        <pc:spChg chg="del">
          <ac:chgData name="Pirone, Chiara" userId="d9d5b965-323f-43ee-9ca8-6b95d06dc7f9" providerId="ADAL" clId="{EEA06CB2-82F2-4ED8-9229-4AD4686F732E}" dt="2022-05-17T11:22:19.358" v="7949" actId="478"/>
          <ac:spMkLst>
            <pc:docMk/>
            <pc:sldMk cId="252340116" sldId="2147375894"/>
            <ac:spMk id="57" creationId="{504C79B4-FB75-4B6C-A5C9-94799AD19EA1}"/>
          </ac:spMkLst>
        </pc:spChg>
        <pc:spChg chg="del">
          <ac:chgData name="Pirone, Chiara" userId="d9d5b965-323f-43ee-9ca8-6b95d06dc7f9" providerId="ADAL" clId="{EEA06CB2-82F2-4ED8-9229-4AD4686F732E}" dt="2022-05-17T11:22:19.358" v="7949" actId="478"/>
          <ac:spMkLst>
            <pc:docMk/>
            <pc:sldMk cId="252340116" sldId="2147375894"/>
            <ac:spMk id="58" creationId="{EB9A5AFD-859E-429E-9FEA-310F81B9BFD0}"/>
          </ac:spMkLst>
        </pc:spChg>
        <pc:spChg chg="del mod">
          <ac:chgData name="Pirone, Chiara" userId="d9d5b965-323f-43ee-9ca8-6b95d06dc7f9" providerId="ADAL" clId="{EEA06CB2-82F2-4ED8-9229-4AD4686F732E}" dt="2022-05-17T11:22:33.567" v="7953" actId="478"/>
          <ac:spMkLst>
            <pc:docMk/>
            <pc:sldMk cId="252340116" sldId="2147375894"/>
            <ac:spMk id="68" creationId="{AAFCE447-AC7E-4C7B-948E-325CA7DBC734}"/>
          </ac:spMkLst>
        </pc:spChg>
        <pc:spChg chg="mod">
          <ac:chgData name="Pirone, Chiara" userId="d9d5b965-323f-43ee-9ca8-6b95d06dc7f9" providerId="ADAL" clId="{EEA06CB2-82F2-4ED8-9229-4AD4686F732E}" dt="2022-05-17T11:22:05.817" v="7948" actId="20577"/>
          <ac:spMkLst>
            <pc:docMk/>
            <pc:sldMk cId="252340116" sldId="2147375894"/>
            <ac:spMk id="71" creationId="{21050DFB-DA40-4AA7-A2B9-20C49BD58984}"/>
          </ac:spMkLst>
        </pc:spChg>
        <pc:grpChg chg="del">
          <ac:chgData name="Pirone, Chiara" userId="d9d5b965-323f-43ee-9ca8-6b95d06dc7f9" providerId="ADAL" clId="{EEA06CB2-82F2-4ED8-9229-4AD4686F732E}" dt="2022-05-17T11:22:19.358" v="7949" actId="478"/>
          <ac:grpSpMkLst>
            <pc:docMk/>
            <pc:sldMk cId="252340116" sldId="2147375894"/>
            <ac:grpSpMk id="3" creationId="{1A49E13E-206D-4CA2-9095-BB555658C1BC}"/>
          </ac:grpSpMkLst>
        </pc:grpChg>
        <pc:grpChg chg="del">
          <ac:chgData name="Pirone, Chiara" userId="d9d5b965-323f-43ee-9ca8-6b95d06dc7f9" providerId="ADAL" clId="{EEA06CB2-82F2-4ED8-9229-4AD4686F732E}" dt="2022-05-17T11:22:19.358" v="7949" actId="478"/>
          <ac:grpSpMkLst>
            <pc:docMk/>
            <pc:sldMk cId="252340116" sldId="2147375894"/>
            <ac:grpSpMk id="4" creationId="{27AA7F09-B573-4EB9-8098-86C5F1F012C2}"/>
          </ac:grpSpMkLst>
        </pc:grpChg>
        <pc:grpChg chg="add del mod">
          <ac:chgData name="Pirone, Chiara" userId="d9d5b965-323f-43ee-9ca8-6b95d06dc7f9" providerId="ADAL" clId="{EEA06CB2-82F2-4ED8-9229-4AD4686F732E}" dt="2022-05-17T11:23:08.084" v="7958" actId="478"/>
          <ac:grpSpMkLst>
            <pc:docMk/>
            <pc:sldMk cId="252340116" sldId="2147375894"/>
            <ac:grpSpMk id="30" creationId="{A405359A-EEB1-4F1A-B281-C95974890CB3}"/>
          </ac:grpSpMkLst>
        </pc:grpChg>
        <pc:grpChg chg="del">
          <ac:chgData name="Pirone, Chiara" userId="d9d5b965-323f-43ee-9ca8-6b95d06dc7f9" providerId="ADAL" clId="{EEA06CB2-82F2-4ED8-9229-4AD4686F732E}" dt="2022-05-17T11:22:19.358" v="7949" actId="478"/>
          <ac:grpSpMkLst>
            <pc:docMk/>
            <pc:sldMk cId="252340116" sldId="2147375894"/>
            <ac:grpSpMk id="59" creationId="{AC901BE6-58F5-4C6E-A123-F9628F07A503}"/>
          </ac:grpSpMkLst>
        </pc:grpChg>
        <pc:grpChg chg="del">
          <ac:chgData name="Pirone, Chiara" userId="d9d5b965-323f-43ee-9ca8-6b95d06dc7f9" providerId="ADAL" clId="{EEA06CB2-82F2-4ED8-9229-4AD4686F732E}" dt="2022-05-17T11:22:19.358" v="7949" actId="478"/>
          <ac:grpSpMkLst>
            <pc:docMk/>
            <pc:sldMk cId="252340116" sldId="2147375894"/>
            <ac:grpSpMk id="60" creationId="{ACDE2556-DB52-40F0-B9BD-77969612C7F9}"/>
          </ac:grpSpMkLst>
        </pc:grpChg>
        <pc:graphicFrameChg chg="mod">
          <ac:chgData name="Pirone, Chiara" userId="d9d5b965-323f-43ee-9ca8-6b95d06dc7f9" providerId="ADAL" clId="{EEA06CB2-82F2-4ED8-9229-4AD4686F732E}" dt="2022-05-17T11:22:55.730" v="7957"/>
          <ac:graphicFrameMkLst>
            <pc:docMk/>
            <pc:sldMk cId="252340116" sldId="2147375894"/>
            <ac:graphicFrameMk id="32" creationId="{F6131EF4-2A9B-4ED9-B441-7F05866872E7}"/>
          </ac:graphicFrameMkLst>
        </pc:graphicFrameChg>
        <pc:picChg chg="add mod">
          <ac:chgData name="Pirone, Chiara" userId="d9d5b965-323f-43ee-9ca8-6b95d06dc7f9" providerId="ADAL" clId="{EEA06CB2-82F2-4ED8-9229-4AD4686F732E}" dt="2022-05-17T15:13:33.261" v="12020" actId="14100"/>
          <ac:picMkLst>
            <pc:docMk/>
            <pc:sldMk cId="252340116" sldId="2147375894"/>
            <ac:picMk id="6" creationId="{A2B645E8-1502-448C-A8EB-51B700F7227F}"/>
          </ac:picMkLst>
        </pc:picChg>
        <pc:picChg chg="del">
          <ac:chgData name="Pirone, Chiara" userId="d9d5b965-323f-43ee-9ca8-6b95d06dc7f9" providerId="ADAL" clId="{EEA06CB2-82F2-4ED8-9229-4AD4686F732E}" dt="2022-05-17T11:22:19.358" v="7949" actId="478"/>
          <ac:picMkLst>
            <pc:docMk/>
            <pc:sldMk cId="252340116" sldId="2147375894"/>
            <ac:picMk id="31" creationId="{BC487ED4-B4AD-47CF-BDBE-7DE39F8C5929}"/>
          </ac:picMkLst>
        </pc:picChg>
        <pc:picChg chg="add del mod">
          <ac:chgData name="Pirone, Chiara" userId="d9d5b965-323f-43ee-9ca8-6b95d06dc7f9" providerId="ADAL" clId="{EEA06CB2-82F2-4ED8-9229-4AD4686F732E}" dt="2022-05-17T11:22:42.496" v="7955" actId="478"/>
          <ac:picMkLst>
            <pc:docMk/>
            <pc:sldMk cId="252340116" sldId="2147375894"/>
            <ac:picMk id="45" creationId="{62DD81FF-27A1-4675-A4BD-F2CA0E6C52A0}"/>
          </ac:picMkLst>
        </pc:picChg>
        <pc:picChg chg="add mod">
          <ac:chgData name="Pirone, Chiara" userId="d9d5b965-323f-43ee-9ca8-6b95d06dc7f9" providerId="ADAL" clId="{EEA06CB2-82F2-4ED8-9229-4AD4686F732E}" dt="2022-05-17T14:39:06.491" v="9766"/>
          <ac:picMkLst>
            <pc:docMk/>
            <pc:sldMk cId="252340116" sldId="2147375894"/>
            <ac:picMk id="48" creationId="{1A34FA78-1DA0-40AF-BCDB-D814181B3AEF}"/>
          </ac:picMkLst>
        </pc:picChg>
      </pc:sldChg>
      <pc:sldChg chg="add del mod setBg modShow">
        <pc:chgData name="Pirone, Chiara" userId="d9d5b965-323f-43ee-9ca8-6b95d06dc7f9" providerId="ADAL" clId="{EEA06CB2-82F2-4ED8-9229-4AD4686F732E}" dt="2022-05-13T15:27:05.795" v="1873" actId="47"/>
        <pc:sldMkLst>
          <pc:docMk/>
          <pc:sldMk cId="1832586948" sldId="2147375894"/>
        </pc:sldMkLst>
      </pc:sldChg>
      <pc:sldChg chg="modSp add mod ord modShow">
        <pc:chgData name="Pirone, Chiara" userId="d9d5b965-323f-43ee-9ca8-6b95d06dc7f9" providerId="ADAL" clId="{EEA06CB2-82F2-4ED8-9229-4AD4686F732E}" dt="2022-05-17T11:26:19.689" v="8054"/>
        <pc:sldMkLst>
          <pc:docMk/>
          <pc:sldMk cId="0" sldId="2147375895"/>
        </pc:sldMkLst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15" creationId="{B73B4049-138E-4275-BA50-560FA31FB51D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21" creationId="{39004454-BA06-45CA-83B6-BD560F40FFC3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24" creationId="{B65CB1C1-1BC1-421A-8656-DBCF550D111D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25" creationId="{1A5E69FE-BD15-41F7-8BC5-84C542B96382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26" creationId="{F37FFC7F-A5F0-4887-9492-A213CD45D849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27" creationId="{73803784-4E6F-40E0-A05F-BCDC8F9A324A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28" creationId="{313D9BF5-06E8-4E9F-9D49-7DD90D0DEBC0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29" creationId="{796E1096-C35A-4C83-8CB6-33C59130B0B6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30" creationId="{CC36CE9E-7DAD-454D-ADE3-A4D9B31D9D20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31" creationId="{23E61B83-AEA2-4B21-92FA-757169309A83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39" creationId="{31A4183F-5D2E-4F2E-A571-6A68FBF86F3E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41" creationId="{A0A5C065-A891-4E10-9091-46C38E9DDE3C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42" creationId="{4F8BB689-B360-468E-A9C2-68427F79AA57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49" creationId="{3EB2CB99-7998-49E7-B107-22A1754441FB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51" creationId="{F97A91DD-F669-4893-BC5F-0551F7839F1C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52" creationId="{4BFB4A26-88D9-4A4E-837C-0CAA5BB52443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53" creationId="{F3DA4CD4-6E4A-48BD-A522-D105F3562197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54" creationId="{F7EBD45E-CE25-4542-933E-C77617D53A59}"/>
          </ac:spMkLst>
        </pc:spChg>
        <pc:spChg chg="mod">
          <ac:chgData name="Pirone, Chiara" userId="d9d5b965-323f-43ee-9ca8-6b95d06dc7f9" providerId="ADAL" clId="{EEA06CB2-82F2-4ED8-9229-4AD4686F732E}" dt="2022-05-17T11:25:34.947" v="8040" actId="2711"/>
          <ac:spMkLst>
            <pc:docMk/>
            <pc:sldMk cId="0" sldId="2147375895"/>
            <ac:spMk id="55" creationId="{0FA1ECFC-527F-49F5-B55E-CC77BA0C3E6F}"/>
          </ac:spMkLst>
        </pc:spChg>
        <pc:grpChg chg="mod">
          <ac:chgData name="Pirone, Chiara" userId="d9d5b965-323f-43ee-9ca8-6b95d06dc7f9" providerId="ADAL" clId="{EEA06CB2-82F2-4ED8-9229-4AD4686F732E}" dt="2022-05-17T11:25:34.947" v="8040" actId="2711"/>
          <ac:grpSpMkLst>
            <pc:docMk/>
            <pc:sldMk cId="0" sldId="2147375895"/>
            <ac:grpSpMk id="4" creationId="{1EAFC954-1F79-47D9-8FB2-D610F764D0C2}"/>
          </ac:grpSpMkLst>
        </pc:grpChg>
        <pc:grpChg chg="mod">
          <ac:chgData name="Pirone, Chiara" userId="d9d5b965-323f-43ee-9ca8-6b95d06dc7f9" providerId="ADAL" clId="{EEA06CB2-82F2-4ED8-9229-4AD4686F732E}" dt="2022-05-17T11:25:34.947" v="8040" actId="2711"/>
          <ac:grpSpMkLst>
            <pc:docMk/>
            <pc:sldMk cId="0" sldId="2147375895"/>
            <ac:grpSpMk id="32" creationId="{7F899C83-227C-4ACB-ADCE-0D0BE0ABAB01}"/>
          </ac:grpSpMkLst>
        </pc:grpChg>
        <pc:grpChg chg="mod">
          <ac:chgData name="Pirone, Chiara" userId="d9d5b965-323f-43ee-9ca8-6b95d06dc7f9" providerId="ADAL" clId="{EEA06CB2-82F2-4ED8-9229-4AD4686F732E}" dt="2022-05-17T11:25:34.947" v="8040" actId="2711"/>
          <ac:grpSpMkLst>
            <pc:docMk/>
            <pc:sldMk cId="0" sldId="2147375895"/>
            <ac:grpSpMk id="44" creationId="{4BF88532-684F-4840-A5C1-E38A938D1577}"/>
          </ac:grpSpMkLst>
        </pc:grpChg>
        <pc:grpChg chg="mod">
          <ac:chgData name="Pirone, Chiara" userId="d9d5b965-323f-43ee-9ca8-6b95d06dc7f9" providerId="ADAL" clId="{EEA06CB2-82F2-4ED8-9229-4AD4686F732E}" dt="2022-05-17T11:25:34.947" v="8040" actId="2711"/>
          <ac:grpSpMkLst>
            <pc:docMk/>
            <pc:sldMk cId="0" sldId="2147375895"/>
            <ac:grpSpMk id="47" creationId="{544713CA-4C06-4701-A687-5A4A72A8FDB3}"/>
          </ac:grpSpMkLst>
        </pc:grpChg>
        <pc:picChg chg="mod">
          <ac:chgData name="Pirone, Chiara" userId="d9d5b965-323f-43ee-9ca8-6b95d06dc7f9" providerId="ADAL" clId="{EEA06CB2-82F2-4ED8-9229-4AD4686F732E}" dt="2022-05-17T11:25:34.947" v="8040" actId="2711"/>
          <ac:picMkLst>
            <pc:docMk/>
            <pc:sldMk cId="0" sldId="2147375895"/>
            <ac:picMk id="18" creationId="{42F4233D-6C2F-433F-B5D6-B08FEF6BE23C}"/>
          </ac:picMkLst>
        </pc:picChg>
        <pc:picChg chg="mod">
          <ac:chgData name="Pirone, Chiara" userId="d9d5b965-323f-43ee-9ca8-6b95d06dc7f9" providerId="ADAL" clId="{EEA06CB2-82F2-4ED8-9229-4AD4686F732E}" dt="2022-05-17T11:25:34.947" v="8040" actId="2711"/>
          <ac:picMkLst>
            <pc:docMk/>
            <pc:sldMk cId="0" sldId="2147375895"/>
            <ac:picMk id="40" creationId="{8B57D699-012C-4778-BB4D-29DC452EB66A}"/>
          </ac:picMkLst>
        </pc:picChg>
        <pc:picChg chg="mod">
          <ac:chgData name="Pirone, Chiara" userId="d9d5b965-323f-43ee-9ca8-6b95d06dc7f9" providerId="ADAL" clId="{EEA06CB2-82F2-4ED8-9229-4AD4686F732E}" dt="2022-05-17T11:25:34.947" v="8040" actId="2711"/>
          <ac:picMkLst>
            <pc:docMk/>
            <pc:sldMk cId="0" sldId="2147375895"/>
            <ac:picMk id="43" creationId="{2798056F-1DB9-4F59-AEA4-2C643F217637}"/>
          </ac:picMkLst>
        </pc:picChg>
        <pc:picChg chg="mod">
          <ac:chgData name="Pirone, Chiara" userId="d9d5b965-323f-43ee-9ca8-6b95d06dc7f9" providerId="ADAL" clId="{EEA06CB2-82F2-4ED8-9229-4AD4686F732E}" dt="2022-05-17T11:25:34.947" v="8040" actId="2711"/>
          <ac:picMkLst>
            <pc:docMk/>
            <pc:sldMk cId="0" sldId="2147375895"/>
            <ac:picMk id="48" creationId="{CBCE967A-A496-4AB9-A5DA-B3D17BC86B91}"/>
          </ac:picMkLst>
        </pc:picChg>
        <pc:picChg chg="mod">
          <ac:chgData name="Pirone, Chiara" userId="d9d5b965-323f-43ee-9ca8-6b95d06dc7f9" providerId="ADAL" clId="{EEA06CB2-82F2-4ED8-9229-4AD4686F732E}" dt="2022-05-17T11:25:34.947" v="8040" actId="2711"/>
          <ac:picMkLst>
            <pc:docMk/>
            <pc:sldMk cId="0" sldId="2147375895"/>
            <ac:picMk id="50" creationId="{3F24F346-5BEA-4B93-9030-6E426E71DFE8}"/>
          </ac:picMkLst>
        </pc:picChg>
      </pc:sldChg>
      <pc:sldChg chg="addSp modSp add del mod setBg modShow">
        <pc:chgData name="Pirone, Chiara" userId="d9d5b965-323f-43ee-9ca8-6b95d06dc7f9" providerId="ADAL" clId="{EEA06CB2-82F2-4ED8-9229-4AD4686F732E}" dt="2022-05-13T15:27:05.795" v="1873" actId="47"/>
        <pc:sldMkLst>
          <pc:docMk/>
          <pc:sldMk cId="867873895" sldId="2147375895"/>
        </pc:sldMkLst>
        <pc:spChg chg="add mod">
          <ac:chgData name="Pirone, Chiara" userId="d9d5b965-323f-43ee-9ca8-6b95d06dc7f9" providerId="ADAL" clId="{EEA06CB2-82F2-4ED8-9229-4AD4686F732E}" dt="2022-05-13T14:17:49.737" v="1498" actId="571"/>
          <ac:spMkLst>
            <pc:docMk/>
            <pc:sldMk cId="867873895" sldId="2147375895"/>
            <ac:spMk id="10" creationId="{38AE0D7E-27D5-432D-B332-9CDCB83AED48}"/>
          </ac:spMkLst>
        </pc:spChg>
        <pc:graphicFrameChg chg="add mod">
          <ac:chgData name="Pirone, Chiara" userId="d9d5b965-323f-43ee-9ca8-6b95d06dc7f9" providerId="ADAL" clId="{EEA06CB2-82F2-4ED8-9229-4AD4686F732E}" dt="2022-05-13T14:17:49.737" v="1498" actId="571"/>
          <ac:graphicFrameMkLst>
            <pc:docMk/>
            <pc:sldMk cId="867873895" sldId="2147375895"/>
            <ac:graphicFrameMk id="11" creationId="{1D6F19FD-54D9-4A04-907F-FE53AB958301}"/>
          </ac:graphicFrameMkLst>
        </pc:graphicFrameChg>
      </pc:sldChg>
      <pc:sldChg chg="addSp delSp modSp add mod ord">
        <pc:chgData name="Pirone, Chiara" userId="d9d5b965-323f-43ee-9ca8-6b95d06dc7f9" providerId="ADAL" clId="{EEA06CB2-82F2-4ED8-9229-4AD4686F732E}" dt="2022-05-17T16:26:13.741" v="13468" actId="14100"/>
        <pc:sldMkLst>
          <pc:docMk/>
          <pc:sldMk cId="0" sldId="2147375896"/>
        </pc:sldMkLst>
        <pc:spChg chg="mod">
          <ac:chgData name="Pirone, Chiara" userId="d9d5b965-323f-43ee-9ca8-6b95d06dc7f9" providerId="ADAL" clId="{EEA06CB2-82F2-4ED8-9229-4AD4686F732E}" dt="2022-05-17T11:30:18.381" v="8129" actId="1076"/>
          <ac:spMkLst>
            <pc:docMk/>
            <pc:sldMk cId="0" sldId="2147375896"/>
            <ac:spMk id="3" creationId="{00000000-0000-0000-0000-000000000000}"/>
          </ac:spMkLst>
        </pc:spChg>
        <pc:spChg chg="del mod">
          <ac:chgData name="Pirone, Chiara" userId="d9d5b965-323f-43ee-9ca8-6b95d06dc7f9" providerId="ADAL" clId="{EEA06CB2-82F2-4ED8-9229-4AD4686F732E}" dt="2022-05-17T11:27:40.854" v="8096" actId="478"/>
          <ac:spMkLst>
            <pc:docMk/>
            <pc:sldMk cId="0" sldId="2147375896"/>
            <ac:spMk id="6" creationId="{00000000-0000-0000-0000-000000000000}"/>
          </ac:spMkLst>
        </pc:spChg>
        <pc:spChg chg="add del mod">
          <ac:chgData name="Pirone, Chiara" userId="d9d5b965-323f-43ee-9ca8-6b95d06dc7f9" providerId="ADAL" clId="{EEA06CB2-82F2-4ED8-9229-4AD4686F732E}" dt="2022-05-17T11:27:40.854" v="8096" actId="478"/>
          <ac:spMkLst>
            <pc:docMk/>
            <pc:sldMk cId="0" sldId="2147375896"/>
            <ac:spMk id="34" creationId="{3EDBD9DB-295A-4092-B176-6AFF47147E9B}"/>
          </ac:spMkLst>
        </pc:spChg>
        <pc:spChg chg="mod">
          <ac:chgData name="Pirone, Chiara" userId="d9d5b965-323f-43ee-9ca8-6b95d06dc7f9" providerId="ADAL" clId="{EEA06CB2-82F2-4ED8-9229-4AD4686F732E}" dt="2022-05-17T11:30:18.381" v="8129" actId="1076"/>
          <ac:spMkLst>
            <pc:docMk/>
            <pc:sldMk cId="0" sldId="2147375896"/>
            <ac:spMk id="36" creationId="{5D258A78-EE13-4304-AF8F-7A966F83F0AC}"/>
          </ac:spMkLst>
        </pc:spChg>
        <pc:spChg chg="add del mod">
          <ac:chgData name="Pirone, Chiara" userId="d9d5b965-323f-43ee-9ca8-6b95d06dc7f9" providerId="ADAL" clId="{EEA06CB2-82F2-4ED8-9229-4AD4686F732E}" dt="2022-05-17T11:26:32.093" v="8057"/>
          <ac:spMkLst>
            <pc:docMk/>
            <pc:sldMk cId="0" sldId="2147375896"/>
            <ac:spMk id="39" creationId="{FB5C07DC-C7D2-4C74-9B67-D5937C250363}"/>
          </ac:spMkLst>
        </pc:spChg>
        <pc:spChg chg="mod">
          <ac:chgData name="Pirone, Chiara" userId="d9d5b965-323f-43ee-9ca8-6b95d06dc7f9" providerId="ADAL" clId="{EEA06CB2-82F2-4ED8-9229-4AD4686F732E}" dt="2022-05-17T11:30:18.381" v="8129" actId="1076"/>
          <ac:spMkLst>
            <pc:docMk/>
            <pc:sldMk cId="0" sldId="2147375896"/>
            <ac:spMk id="42" creationId="{FF8BB625-31C3-45F0-9D9F-11836566E69C}"/>
          </ac:spMkLst>
        </pc:spChg>
        <pc:spChg chg="mod">
          <ac:chgData name="Pirone, Chiara" userId="d9d5b965-323f-43ee-9ca8-6b95d06dc7f9" providerId="ADAL" clId="{EEA06CB2-82F2-4ED8-9229-4AD4686F732E}" dt="2022-05-17T11:30:18.381" v="8129" actId="1076"/>
          <ac:spMkLst>
            <pc:docMk/>
            <pc:sldMk cId="0" sldId="2147375896"/>
            <ac:spMk id="43" creationId="{091E0AB3-EF13-48DB-A2FF-7B0883510A12}"/>
          </ac:spMkLst>
        </pc:spChg>
        <pc:spChg chg="add del mod">
          <ac:chgData name="Pirone, Chiara" userId="d9d5b965-323f-43ee-9ca8-6b95d06dc7f9" providerId="ADAL" clId="{EEA06CB2-82F2-4ED8-9229-4AD4686F732E}" dt="2022-05-17T11:27:56.784" v="8098"/>
          <ac:spMkLst>
            <pc:docMk/>
            <pc:sldMk cId="0" sldId="2147375896"/>
            <ac:spMk id="44" creationId="{118A2857-90FB-4703-A706-4910F8B8FE2C}"/>
          </ac:spMkLst>
        </pc:spChg>
        <pc:spChg chg="add del mod">
          <ac:chgData name="Pirone, Chiara" userId="d9d5b965-323f-43ee-9ca8-6b95d06dc7f9" providerId="ADAL" clId="{EEA06CB2-82F2-4ED8-9229-4AD4686F732E}" dt="2022-05-17T11:27:56.784" v="8098"/>
          <ac:spMkLst>
            <pc:docMk/>
            <pc:sldMk cId="0" sldId="2147375896"/>
            <ac:spMk id="46" creationId="{65CDD82E-1B38-45F6-A0C6-A8C910E58DE2}"/>
          </ac:spMkLst>
        </pc:spChg>
        <pc:spChg chg="add mod">
          <ac:chgData name="Pirone, Chiara" userId="d9d5b965-323f-43ee-9ca8-6b95d06dc7f9" providerId="ADAL" clId="{EEA06CB2-82F2-4ED8-9229-4AD4686F732E}" dt="2022-05-17T11:30:09.195" v="8128" actId="14100"/>
          <ac:spMkLst>
            <pc:docMk/>
            <pc:sldMk cId="0" sldId="2147375896"/>
            <ac:spMk id="47" creationId="{0B15C5F1-C938-4133-AE2E-CF708F0EC985}"/>
          </ac:spMkLst>
        </pc:spChg>
        <pc:spChg chg="add mod">
          <ac:chgData name="Pirone, Chiara" userId="d9d5b965-323f-43ee-9ca8-6b95d06dc7f9" providerId="ADAL" clId="{EEA06CB2-82F2-4ED8-9229-4AD4686F732E}" dt="2022-05-17T11:28:05.396" v="8122" actId="20577"/>
          <ac:spMkLst>
            <pc:docMk/>
            <pc:sldMk cId="0" sldId="2147375896"/>
            <ac:spMk id="49" creationId="{A1D313CA-43C4-4108-BAD3-17D285293D63}"/>
          </ac:spMkLst>
        </pc:spChg>
        <pc:spChg chg="mod">
          <ac:chgData name="Pirone, Chiara" userId="d9d5b965-323f-43ee-9ca8-6b95d06dc7f9" providerId="ADAL" clId="{EEA06CB2-82F2-4ED8-9229-4AD4686F732E}" dt="2022-05-17T11:30:18.381" v="8129" actId="1076"/>
          <ac:spMkLst>
            <pc:docMk/>
            <pc:sldMk cId="0" sldId="2147375896"/>
            <ac:spMk id="53" creationId="{51B2EEAD-ADF3-4F95-8A6D-C82ACA5263DC}"/>
          </ac:spMkLst>
        </pc:spChg>
        <pc:spChg chg="mod">
          <ac:chgData name="Pirone, Chiara" userId="d9d5b965-323f-43ee-9ca8-6b95d06dc7f9" providerId="ADAL" clId="{EEA06CB2-82F2-4ED8-9229-4AD4686F732E}" dt="2022-05-17T11:30:18.381" v="8129" actId="1076"/>
          <ac:spMkLst>
            <pc:docMk/>
            <pc:sldMk cId="0" sldId="2147375896"/>
            <ac:spMk id="54" creationId="{CBB4F788-810E-4C9E-9DE6-216E35397DDC}"/>
          </ac:spMkLst>
        </pc:spChg>
        <pc:spChg chg="mod">
          <ac:chgData name="Pirone, Chiara" userId="d9d5b965-323f-43ee-9ca8-6b95d06dc7f9" providerId="ADAL" clId="{EEA06CB2-82F2-4ED8-9229-4AD4686F732E}" dt="2022-05-17T11:30:18.381" v="8129" actId="1076"/>
          <ac:spMkLst>
            <pc:docMk/>
            <pc:sldMk cId="0" sldId="2147375896"/>
            <ac:spMk id="55" creationId="{432B8C4D-9E11-411B-B3F4-C7E2CF1EDF62}"/>
          </ac:spMkLst>
        </pc:spChg>
        <pc:spChg chg="mod">
          <ac:chgData name="Pirone, Chiara" userId="d9d5b965-323f-43ee-9ca8-6b95d06dc7f9" providerId="ADAL" clId="{EEA06CB2-82F2-4ED8-9229-4AD4686F732E}" dt="2022-05-17T11:30:18.381" v="8129" actId="1076"/>
          <ac:spMkLst>
            <pc:docMk/>
            <pc:sldMk cId="0" sldId="2147375896"/>
            <ac:spMk id="56" creationId="{0B96F87C-BA3D-409A-A6C4-1DE943623B86}"/>
          </ac:spMkLst>
        </pc:spChg>
        <pc:spChg chg="mod">
          <ac:chgData name="Pirone, Chiara" userId="d9d5b965-323f-43ee-9ca8-6b95d06dc7f9" providerId="ADAL" clId="{EEA06CB2-82F2-4ED8-9229-4AD4686F732E}" dt="2022-05-17T11:30:18.381" v="8129" actId="1076"/>
          <ac:spMkLst>
            <pc:docMk/>
            <pc:sldMk cId="0" sldId="2147375896"/>
            <ac:spMk id="57" creationId="{D9A62CC5-3ED6-419A-A9EF-FA6C276486C4}"/>
          </ac:spMkLst>
        </pc:spChg>
        <pc:spChg chg="mod">
          <ac:chgData name="Pirone, Chiara" userId="d9d5b965-323f-43ee-9ca8-6b95d06dc7f9" providerId="ADAL" clId="{EEA06CB2-82F2-4ED8-9229-4AD4686F732E}" dt="2022-05-17T16:26:13.741" v="13468" actId="14100"/>
          <ac:spMkLst>
            <pc:docMk/>
            <pc:sldMk cId="0" sldId="2147375896"/>
            <ac:spMk id="58" creationId="{29F6E1C5-8AE3-4F3D-8737-5953A053DEB2}"/>
          </ac:spMkLst>
        </pc:spChg>
        <pc:spChg chg="mod">
          <ac:chgData name="Pirone, Chiara" userId="d9d5b965-323f-43ee-9ca8-6b95d06dc7f9" providerId="ADAL" clId="{EEA06CB2-82F2-4ED8-9229-4AD4686F732E}" dt="2022-05-17T11:30:18.381" v="8129" actId="1076"/>
          <ac:spMkLst>
            <pc:docMk/>
            <pc:sldMk cId="0" sldId="2147375896"/>
            <ac:spMk id="60" creationId="{1B1A6477-2343-48DA-B4C7-776AAE017DCD}"/>
          </ac:spMkLst>
        </pc:spChg>
        <pc:spChg chg="mod">
          <ac:chgData name="Pirone, Chiara" userId="d9d5b965-323f-43ee-9ca8-6b95d06dc7f9" providerId="ADAL" clId="{EEA06CB2-82F2-4ED8-9229-4AD4686F732E}" dt="2022-05-17T11:30:18.381" v="8129" actId="1076"/>
          <ac:spMkLst>
            <pc:docMk/>
            <pc:sldMk cId="0" sldId="2147375896"/>
            <ac:spMk id="62" creationId="{E46A619D-7BC8-4328-867B-24DAFEF9CDCD}"/>
          </ac:spMkLst>
        </pc:spChg>
        <pc:spChg chg="mod">
          <ac:chgData name="Pirone, Chiara" userId="d9d5b965-323f-43ee-9ca8-6b95d06dc7f9" providerId="ADAL" clId="{EEA06CB2-82F2-4ED8-9229-4AD4686F732E}" dt="2022-05-17T11:30:18.381" v="8129" actId="1076"/>
          <ac:spMkLst>
            <pc:docMk/>
            <pc:sldMk cId="0" sldId="2147375896"/>
            <ac:spMk id="64" creationId="{3FF7690C-7932-41EB-A403-C88F5A3858A8}"/>
          </ac:spMkLst>
        </pc:spChg>
        <pc:spChg chg="mod">
          <ac:chgData name="Pirone, Chiara" userId="d9d5b965-323f-43ee-9ca8-6b95d06dc7f9" providerId="ADAL" clId="{EEA06CB2-82F2-4ED8-9229-4AD4686F732E}" dt="2022-05-17T11:30:18.381" v="8129" actId="1076"/>
          <ac:spMkLst>
            <pc:docMk/>
            <pc:sldMk cId="0" sldId="2147375896"/>
            <ac:spMk id="66" creationId="{7614AF71-8B25-40A6-85B0-E86484A1F2CB}"/>
          </ac:spMkLst>
        </pc:spChg>
        <pc:spChg chg="mod">
          <ac:chgData name="Pirone, Chiara" userId="d9d5b965-323f-43ee-9ca8-6b95d06dc7f9" providerId="ADAL" clId="{EEA06CB2-82F2-4ED8-9229-4AD4686F732E}" dt="2022-05-17T11:30:18.381" v="8129" actId="1076"/>
          <ac:spMkLst>
            <pc:docMk/>
            <pc:sldMk cId="0" sldId="2147375896"/>
            <ac:spMk id="68" creationId="{939891E4-E61E-4FE3-8C1F-5B9878F47706}"/>
          </ac:spMkLst>
        </pc:spChg>
        <pc:grpChg chg="mod">
          <ac:chgData name="Pirone, Chiara" userId="d9d5b965-323f-43ee-9ca8-6b95d06dc7f9" providerId="ADAL" clId="{EEA06CB2-82F2-4ED8-9229-4AD4686F732E}" dt="2022-05-17T11:30:18.381" v="8129" actId="1076"/>
          <ac:grpSpMkLst>
            <pc:docMk/>
            <pc:sldMk cId="0" sldId="2147375896"/>
            <ac:grpSpMk id="2" creationId="{EB3B194C-7439-4217-8DB1-C4CFD04D8F37}"/>
          </ac:grpSpMkLst>
        </pc:grpChg>
        <pc:grpChg chg="mod">
          <ac:chgData name="Pirone, Chiara" userId="d9d5b965-323f-43ee-9ca8-6b95d06dc7f9" providerId="ADAL" clId="{EEA06CB2-82F2-4ED8-9229-4AD4686F732E}" dt="2022-05-17T11:30:21.876" v="8130" actId="1076"/>
          <ac:grpSpMkLst>
            <pc:docMk/>
            <pc:sldMk cId="0" sldId="2147375896"/>
            <ac:grpSpMk id="5" creationId="{94E27BBC-11C4-4152-B912-ACB5A0F83FB2}"/>
          </ac:grpSpMkLst>
        </pc:grpChg>
        <pc:grpChg chg="mod">
          <ac:chgData name="Pirone, Chiara" userId="d9d5b965-323f-43ee-9ca8-6b95d06dc7f9" providerId="ADAL" clId="{EEA06CB2-82F2-4ED8-9229-4AD4686F732E}" dt="2022-05-17T11:30:18.381" v="8129" actId="1076"/>
          <ac:grpSpMkLst>
            <pc:docMk/>
            <pc:sldMk cId="0" sldId="2147375896"/>
            <ac:grpSpMk id="7" creationId="{642EF2D6-CEBA-4AAF-84ED-40C3CEC4FC2A}"/>
          </ac:grpSpMkLst>
        </pc:grpChg>
        <pc:picChg chg="mod">
          <ac:chgData name="Pirone, Chiara" userId="d9d5b965-323f-43ee-9ca8-6b95d06dc7f9" providerId="ADAL" clId="{EEA06CB2-82F2-4ED8-9229-4AD4686F732E}" dt="2022-05-17T11:30:18.381" v="8129" actId="1076"/>
          <ac:picMkLst>
            <pc:docMk/>
            <pc:sldMk cId="0" sldId="2147375896"/>
            <ac:picMk id="4" creationId="{00000000-0000-0000-0000-000000000000}"/>
          </ac:picMkLst>
        </pc:picChg>
        <pc:picChg chg="mod">
          <ac:chgData name="Pirone, Chiara" userId="d9d5b965-323f-43ee-9ca8-6b95d06dc7f9" providerId="ADAL" clId="{EEA06CB2-82F2-4ED8-9229-4AD4686F732E}" dt="2022-05-17T11:30:18.381" v="8129" actId="1076"/>
          <ac:picMkLst>
            <pc:docMk/>
            <pc:sldMk cId="0" sldId="2147375896"/>
            <ac:picMk id="11" creationId="{00000000-0000-0000-0000-000000000000}"/>
          </ac:picMkLst>
        </pc:picChg>
        <pc:picChg chg="mod">
          <ac:chgData name="Pirone, Chiara" userId="d9d5b965-323f-43ee-9ca8-6b95d06dc7f9" providerId="ADAL" clId="{EEA06CB2-82F2-4ED8-9229-4AD4686F732E}" dt="2022-05-17T11:30:18.381" v="8129" actId="1076"/>
          <ac:picMkLst>
            <pc:docMk/>
            <pc:sldMk cId="0" sldId="2147375896"/>
            <ac:picMk id="18" creationId="{F305D509-636F-4EC9-A949-93F2157E6855}"/>
          </ac:picMkLst>
        </pc:picChg>
        <pc:picChg chg="mod">
          <ac:chgData name="Pirone, Chiara" userId="d9d5b965-323f-43ee-9ca8-6b95d06dc7f9" providerId="ADAL" clId="{EEA06CB2-82F2-4ED8-9229-4AD4686F732E}" dt="2022-05-17T11:30:18.381" v="8129" actId="1076"/>
          <ac:picMkLst>
            <pc:docMk/>
            <pc:sldMk cId="0" sldId="2147375896"/>
            <ac:picMk id="35" creationId="{2928D8B1-31E0-4286-A403-C5F86FF60205}"/>
          </ac:picMkLst>
        </pc:picChg>
        <pc:picChg chg="mod">
          <ac:chgData name="Pirone, Chiara" userId="d9d5b965-323f-43ee-9ca8-6b95d06dc7f9" providerId="ADAL" clId="{EEA06CB2-82F2-4ED8-9229-4AD4686F732E}" dt="2022-05-17T11:30:18.381" v="8129" actId="1076"/>
          <ac:picMkLst>
            <pc:docMk/>
            <pc:sldMk cId="0" sldId="2147375896"/>
            <ac:picMk id="37" creationId="{816FACF2-72D0-4399-B394-1BC4CBB6E486}"/>
          </ac:picMkLst>
        </pc:picChg>
        <pc:picChg chg="mod">
          <ac:chgData name="Pirone, Chiara" userId="d9d5b965-323f-43ee-9ca8-6b95d06dc7f9" providerId="ADAL" clId="{EEA06CB2-82F2-4ED8-9229-4AD4686F732E}" dt="2022-05-17T11:30:18.381" v="8129" actId="1076"/>
          <ac:picMkLst>
            <pc:docMk/>
            <pc:sldMk cId="0" sldId="2147375896"/>
            <ac:picMk id="38" creationId="{F5B7535B-BEDD-4A28-A8B8-B0FA035CD6ED}"/>
          </ac:picMkLst>
        </pc:picChg>
        <pc:picChg chg="mod">
          <ac:chgData name="Pirone, Chiara" userId="d9d5b965-323f-43ee-9ca8-6b95d06dc7f9" providerId="ADAL" clId="{EEA06CB2-82F2-4ED8-9229-4AD4686F732E}" dt="2022-05-17T11:30:18.381" v="8129" actId="1076"/>
          <ac:picMkLst>
            <pc:docMk/>
            <pc:sldMk cId="0" sldId="2147375896"/>
            <ac:picMk id="40" creationId="{232FEEA8-94BC-4990-A81A-3D024F10DB26}"/>
          </ac:picMkLst>
        </pc:picChg>
        <pc:picChg chg="mod">
          <ac:chgData name="Pirone, Chiara" userId="d9d5b965-323f-43ee-9ca8-6b95d06dc7f9" providerId="ADAL" clId="{EEA06CB2-82F2-4ED8-9229-4AD4686F732E}" dt="2022-05-17T11:30:18.381" v="8129" actId="1076"/>
          <ac:picMkLst>
            <pc:docMk/>
            <pc:sldMk cId="0" sldId="2147375896"/>
            <ac:picMk id="41" creationId="{762A3704-AE29-4400-8662-E780B8C638EA}"/>
          </ac:picMkLst>
        </pc:picChg>
        <pc:picChg chg="add del mod">
          <ac:chgData name="Pirone, Chiara" userId="d9d5b965-323f-43ee-9ca8-6b95d06dc7f9" providerId="ADAL" clId="{EEA06CB2-82F2-4ED8-9229-4AD4686F732E}" dt="2022-05-17T11:27:56.784" v="8098"/>
          <ac:picMkLst>
            <pc:docMk/>
            <pc:sldMk cId="0" sldId="2147375896"/>
            <ac:picMk id="45" creationId="{AA1EE58F-51C4-4E24-A2C9-1A40C902592D}"/>
          </ac:picMkLst>
        </pc:picChg>
        <pc:picChg chg="add del mod">
          <ac:chgData name="Pirone, Chiara" userId="d9d5b965-323f-43ee-9ca8-6b95d06dc7f9" providerId="ADAL" clId="{EEA06CB2-82F2-4ED8-9229-4AD4686F732E}" dt="2022-05-17T11:28:15.860" v="8125" actId="478"/>
          <ac:picMkLst>
            <pc:docMk/>
            <pc:sldMk cId="0" sldId="2147375896"/>
            <ac:picMk id="48" creationId="{F65DF0B8-ADD1-4321-AAD8-1640316FDA8F}"/>
          </ac:picMkLst>
        </pc:picChg>
        <pc:picChg chg="add del mod">
          <ac:chgData name="Pirone, Chiara" userId="d9d5b965-323f-43ee-9ca8-6b95d06dc7f9" providerId="ADAL" clId="{EEA06CB2-82F2-4ED8-9229-4AD4686F732E}" dt="2022-05-17T14:39:13.918" v="9770"/>
          <ac:picMkLst>
            <pc:docMk/>
            <pc:sldMk cId="0" sldId="2147375896"/>
            <ac:picMk id="50" creationId="{30B6BE58-6CA6-4834-9701-1F92337A105B}"/>
          </ac:picMkLst>
        </pc:picChg>
        <pc:picChg chg="mod">
          <ac:chgData name="Pirone, Chiara" userId="d9d5b965-323f-43ee-9ca8-6b95d06dc7f9" providerId="ADAL" clId="{EEA06CB2-82F2-4ED8-9229-4AD4686F732E}" dt="2022-05-17T11:30:18.381" v="8129" actId="1076"/>
          <ac:picMkLst>
            <pc:docMk/>
            <pc:sldMk cId="0" sldId="2147375896"/>
            <ac:picMk id="61" creationId="{0BB39432-15A5-427B-8383-E38E4D574672}"/>
          </ac:picMkLst>
        </pc:picChg>
        <pc:picChg chg="mod">
          <ac:chgData name="Pirone, Chiara" userId="d9d5b965-323f-43ee-9ca8-6b95d06dc7f9" providerId="ADAL" clId="{EEA06CB2-82F2-4ED8-9229-4AD4686F732E}" dt="2022-05-17T11:30:18.381" v="8129" actId="1076"/>
          <ac:picMkLst>
            <pc:docMk/>
            <pc:sldMk cId="0" sldId="2147375896"/>
            <ac:picMk id="63" creationId="{B0B74C14-FB83-4DF3-B93F-0BDDE0E43083}"/>
          </ac:picMkLst>
        </pc:picChg>
        <pc:picChg chg="mod">
          <ac:chgData name="Pirone, Chiara" userId="d9d5b965-323f-43ee-9ca8-6b95d06dc7f9" providerId="ADAL" clId="{EEA06CB2-82F2-4ED8-9229-4AD4686F732E}" dt="2022-05-17T11:30:18.381" v="8129" actId="1076"/>
          <ac:picMkLst>
            <pc:docMk/>
            <pc:sldMk cId="0" sldId="2147375896"/>
            <ac:picMk id="65" creationId="{A12FFD69-08F6-42A0-B2BE-64A959EB1602}"/>
          </ac:picMkLst>
        </pc:picChg>
        <pc:picChg chg="mod">
          <ac:chgData name="Pirone, Chiara" userId="d9d5b965-323f-43ee-9ca8-6b95d06dc7f9" providerId="ADAL" clId="{EEA06CB2-82F2-4ED8-9229-4AD4686F732E}" dt="2022-05-17T11:30:18.381" v="8129" actId="1076"/>
          <ac:picMkLst>
            <pc:docMk/>
            <pc:sldMk cId="0" sldId="2147375896"/>
            <ac:picMk id="67" creationId="{B7DAEF84-D0CD-408A-B18F-0C159B6C4AED}"/>
          </ac:picMkLst>
        </pc:picChg>
        <pc:picChg chg="mod">
          <ac:chgData name="Pirone, Chiara" userId="d9d5b965-323f-43ee-9ca8-6b95d06dc7f9" providerId="ADAL" clId="{EEA06CB2-82F2-4ED8-9229-4AD4686F732E}" dt="2022-05-17T11:30:18.381" v="8129" actId="1076"/>
          <ac:picMkLst>
            <pc:docMk/>
            <pc:sldMk cId="0" sldId="2147375896"/>
            <ac:picMk id="69" creationId="{7856B6C2-E9C4-49D8-9B04-D89C6518BBD9}"/>
          </ac:picMkLst>
        </pc:picChg>
      </pc:sldChg>
      <pc:sldChg chg="addSp delSp modSp add mod ord">
        <pc:chgData name="Pirone, Chiara" userId="d9d5b965-323f-43ee-9ca8-6b95d06dc7f9" providerId="ADAL" clId="{EEA06CB2-82F2-4ED8-9229-4AD4686F732E}" dt="2022-05-17T15:43:20.065" v="13300" actId="14100"/>
        <pc:sldMkLst>
          <pc:docMk/>
          <pc:sldMk cId="4083170229" sldId="2147375897"/>
        </pc:sldMkLst>
        <pc:spChg chg="del">
          <ac:chgData name="Pirone, Chiara" userId="d9d5b965-323f-43ee-9ca8-6b95d06dc7f9" providerId="ADAL" clId="{EEA06CB2-82F2-4ED8-9229-4AD4686F732E}" dt="2022-05-17T11:30:46.649" v="8134" actId="478"/>
          <ac:spMkLst>
            <pc:docMk/>
            <pc:sldMk cId="4083170229" sldId="2147375897"/>
            <ac:spMk id="2" creationId="{6FF1552D-41DE-4583-8510-A328419E1494}"/>
          </ac:spMkLst>
        </pc:spChg>
        <pc:spChg chg="del">
          <ac:chgData name="Pirone, Chiara" userId="d9d5b965-323f-43ee-9ca8-6b95d06dc7f9" providerId="ADAL" clId="{EEA06CB2-82F2-4ED8-9229-4AD4686F732E}" dt="2022-05-17T11:30:46.649" v="8134" actId="478"/>
          <ac:spMkLst>
            <pc:docMk/>
            <pc:sldMk cId="4083170229" sldId="2147375897"/>
            <ac:spMk id="6" creationId="{90D88CCC-1459-4D9D-AEDB-D6F922B0E8A1}"/>
          </ac:spMkLst>
        </pc:spChg>
        <pc:spChg chg="del">
          <ac:chgData name="Pirone, Chiara" userId="d9d5b965-323f-43ee-9ca8-6b95d06dc7f9" providerId="ADAL" clId="{EEA06CB2-82F2-4ED8-9229-4AD4686F732E}" dt="2022-05-17T11:30:48.411" v="8135" actId="478"/>
          <ac:spMkLst>
            <pc:docMk/>
            <pc:sldMk cId="4083170229" sldId="2147375897"/>
            <ac:spMk id="20" creationId="{93BE4077-D2F8-43D1-A8F6-8297B9CCC591}"/>
          </ac:spMkLst>
        </pc:spChg>
        <pc:spChg chg="del">
          <ac:chgData name="Pirone, Chiara" userId="d9d5b965-323f-43ee-9ca8-6b95d06dc7f9" providerId="ADAL" clId="{EEA06CB2-82F2-4ED8-9229-4AD4686F732E}" dt="2022-05-17T11:30:48.411" v="8135" actId="478"/>
          <ac:spMkLst>
            <pc:docMk/>
            <pc:sldMk cId="4083170229" sldId="2147375897"/>
            <ac:spMk id="21" creationId="{2BC0E49D-9596-45BE-95A7-F738F8F5DD6E}"/>
          </ac:spMkLst>
        </pc:spChg>
        <pc:spChg chg="add del mod">
          <ac:chgData name="Pirone, Chiara" userId="d9d5b965-323f-43ee-9ca8-6b95d06dc7f9" providerId="ADAL" clId="{EEA06CB2-82F2-4ED8-9229-4AD4686F732E}" dt="2022-05-17T15:09:15.577" v="11786" actId="478"/>
          <ac:spMkLst>
            <pc:docMk/>
            <pc:sldMk cId="4083170229" sldId="2147375897"/>
            <ac:spMk id="23" creationId="{63E7ABEE-ED56-4672-9BF2-DFE3C033ABE0}"/>
          </ac:spMkLst>
        </pc:spChg>
        <pc:spChg chg="add del mod">
          <ac:chgData name="Pirone, Chiara" userId="d9d5b965-323f-43ee-9ca8-6b95d06dc7f9" providerId="ADAL" clId="{EEA06CB2-82F2-4ED8-9229-4AD4686F732E}" dt="2022-05-17T15:05:07.857" v="11165" actId="478"/>
          <ac:spMkLst>
            <pc:docMk/>
            <pc:sldMk cId="4083170229" sldId="2147375897"/>
            <ac:spMk id="24" creationId="{37431A8E-B439-4CB7-B7F4-0E2903EAE51F}"/>
          </ac:spMkLst>
        </pc:spChg>
        <pc:spChg chg="add del mod">
          <ac:chgData name="Pirone, Chiara" userId="d9d5b965-323f-43ee-9ca8-6b95d06dc7f9" providerId="ADAL" clId="{EEA06CB2-82F2-4ED8-9229-4AD4686F732E}" dt="2022-05-17T11:31:29.451" v="8185" actId="478"/>
          <ac:spMkLst>
            <pc:docMk/>
            <pc:sldMk cId="4083170229" sldId="2147375897"/>
            <ac:spMk id="25" creationId="{EE800CFE-8743-44AD-BCBB-6614A75A31B2}"/>
          </ac:spMkLst>
        </pc:spChg>
        <pc:spChg chg="add del mod">
          <ac:chgData name="Pirone, Chiara" userId="d9d5b965-323f-43ee-9ca8-6b95d06dc7f9" providerId="ADAL" clId="{EEA06CB2-82F2-4ED8-9229-4AD4686F732E}" dt="2022-05-17T15:07:15.975" v="11395" actId="478"/>
          <ac:spMkLst>
            <pc:docMk/>
            <pc:sldMk cId="4083170229" sldId="2147375897"/>
            <ac:spMk id="26" creationId="{F22F7A4D-4CB1-40B8-A8E5-959E23BD3391}"/>
          </ac:spMkLst>
        </pc:spChg>
        <pc:spChg chg="add del mod">
          <ac:chgData name="Pirone, Chiara" userId="d9d5b965-323f-43ee-9ca8-6b95d06dc7f9" providerId="ADAL" clId="{EEA06CB2-82F2-4ED8-9229-4AD4686F732E}" dt="2022-05-17T15:05:07.857" v="11165" actId="478"/>
          <ac:spMkLst>
            <pc:docMk/>
            <pc:sldMk cId="4083170229" sldId="2147375897"/>
            <ac:spMk id="27" creationId="{20346786-AD69-4E08-B392-CE7DDF3DBFF9}"/>
          </ac:spMkLst>
        </pc:spChg>
        <pc:spChg chg="add del mod">
          <ac:chgData name="Pirone, Chiara" userId="d9d5b965-323f-43ee-9ca8-6b95d06dc7f9" providerId="ADAL" clId="{EEA06CB2-82F2-4ED8-9229-4AD4686F732E}" dt="2022-05-17T11:31:41.794" v="8188" actId="478"/>
          <ac:spMkLst>
            <pc:docMk/>
            <pc:sldMk cId="4083170229" sldId="2147375897"/>
            <ac:spMk id="28" creationId="{B051C6A4-50C0-4457-AE76-B07519DC3D0A}"/>
          </ac:spMkLst>
        </pc:spChg>
        <pc:spChg chg="add del mod">
          <ac:chgData name="Pirone, Chiara" userId="d9d5b965-323f-43ee-9ca8-6b95d06dc7f9" providerId="ADAL" clId="{EEA06CB2-82F2-4ED8-9229-4AD4686F732E}" dt="2022-05-17T11:31:41.794" v="8188" actId="478"/>
          <ac:spMkLst>
            <pc:docMk/>
            <pc:sldMk cId="4083170229" sldId="2147375897"/>
            <ac:spMk id="29" creationId="{9EAC84D2-8741-4B77-83D9-CE98A18D4515}"/>
          </ac:spMkLst>
        </pc:spChg>
        <pc:spChg chg="add del mod">
          <ac:chgData name="Pirone, Chiara" userId="d9d5b965-323f-43ee-9ca8-6b95d06dc7f9" providerId="ADAL" clId="{EEA06CB2-82F2-4ED8-9229-4AD4686F732E}" dt="2022-05-17T11:31:29.451" v="8185" actId="478"/>
          <ac:spMkLst>
            <pc:docMk/>
            <pc:sldMk cId="4083170229" sldId="2147375897"/>
            <ac:spMk id="30" creationId="{BABC2E7B-6173-4619-9223-A4B448CAA797}"/>
          </ac:spMkLst>
        </pc:spChg>
        <pc:spChg chg="mod">
          <ac:chgData name="Pirone, Chiara" userId="d9d5b965-323f-43ee-9ca8-6b95d06dc7f9" providerId="ADAL" clId="{EEA06CB2-82F2-4ED8-9229-4AD4686F732E}" dt="2022-05-17T11:31:50.392" v="8191" actId="1076"/>
          <ac:spMkLst>
            <pc:docMk/>
            <pc:sldMk cId="4083170229" sldId="2147375897"/>
            <ac:spMk id="34" creationId="{9946F27B-1A3C-4A39-8B27-CC0A9FF96CF1}"/>
          </ac:spMkLst>
        </pc:spChg>
        <pc:spChg chg="mod">
          <ac:chgData name="Pirone, Chiara" userId="d9d5b965-323f-43ee-9ca8-6b95d06dc7f9" providerId="ADAL" clId="{EEA06CB2-82F2-4ED8-9229-4AD4686F732E}" dt="2022-05-17T11:31:50.392" v="8191" actId="1076"/>
          <ac:spMkLst>
            <pc:docMk/>
            <pc:sldMk cId="4083170229" sldId="2147375897"/>
            <ac:spMk id="35" creationId="{FF3CFF4E-1E0F-44E5-84C9-B1539156FAE8}"/>
          </ac:spMkLst>
        </pc:spChg>
        <pc:spChg chg="mod">
          <ac:chgData name="Pirone, Chiara" userId="d9d5b965-323f-43ee-9ca8-6b95d06dc7f9" providerId="ADAL" clId="{EEA06CB2-82F2-4ED8-9229-4AD4686F732E}" dt="2022-05-17T11:31:50.392" v="8191" actId="1076"/>
          <ac:spMkLst>
            <pc:docMk/>
            <pc:sldMk cId="4083170229" sldId="2147375897"/>
            <ac:spMk id="36" creationId="{E4AEA565-7D3A-445B-83F0-674C7A5EAE49}"/>
          </ac:spMkLst>
        </pc:spChg>
        <pc:spChg chg="mod">
          <ac:chgData name="Pirone, Chiara" userId="d9d5b965-323f-43ee-9ca8-6b95d06dc7f9" providerId="ADAL" clId="{EEA06CB2-82F2-4ED8-9229-4AD4686F732E}" dt="2022-05-17T11:31:50.392" v="8191" actId="1076"/>
          <ac:spMkLst>
            <pc:docMk/>
            <pc:sldMk cId="4083170229" sldId="2147375897"/>
            <ac:spMk id="37" creationId="{B7370CD9-1A77-458A-92FD-025E254D0A92}"/>
          </ac:spMkLst>
        </pc:spChg>
        <pc:spChg chg="mod">
          <ac:chgData name="Pirone, Chiara" userId="d9d5b965-323f-43ee-9ca8-6b95d06dc7f9" providerId="ADAL" clId="{EEA06CB2-82F2-4ED8-9229-4AD4686F732E}" dt="2022-05-17T11:31:50.392" v="8191" actId="1076"/>
          <ac:spMkLst>
            <pc:docMk/>
            <pc:sldMk cId="4083170229" sldId="2147375897"/>
            <ac:spMk id="38" creationId="{F7BFED52-5380-46F5-9D45-CC02928555BC}"/>
          </ac:spMkLst>
        </pc:spChg>
        <pc:spChg chg="mod">
          <ac:chgData name="Pirone, Chiara" userId="d9d5b965-323f-43ee-9ca8-6b95d06dc7f9" providerId="ADAL" clId="{EEA06CB2-82F2-4ED8-9229-4AD4686F732E}" dt="2022-05-17T11:31:50.392" v="8191" actId="1076"/>
          <ac:spMkLst>
            <pc:docMk/>
            <pc:sldMk cId="4083170229" sldId="2147375897"/>
            <ac:spMk id="39" creationId="{DEB349DA-7D75-4190-9427-19A6C03ABE0A}"/>
          </ac:spMkLst>
        </pc:spChg>
        <pc:spChg chg="mod">
          <ac:chgData name="Pirone, Chiara" userId="d9d5b965-323f-43ee-9ca8-6b95d06dc7f9" providerId="ADAL" clId="{EEA06CB2-82F2-4ED8-9229-4AD4686F732E}" dt="2022-05-17T11:31:50.392" v="8191" actId="1076"/>
          <ac:spMkLst>
            <pc:docMk/>
            <pc:sldMk cId="4083170229" sldId="2147375897"/>
            <ac:spMk id="40" creationId="{3F354893-915B-45A2-BE72-E628FC690F03}"/>
          </ac:spMkLst>
        </pc:spChg>
        <pc:spChg chg="mod">
          <ac:chgData name="Pirone, Chiara" userId="d9d5b965-323f-43ee-9ca8-6b95d06dc7f9" providerId="ADAL" clId="{EEA06CB2-82F2-4ED8-9229-4AD4686F732E}" dt="2022-05-17T11:31:50.392" v="8191" actId="1076"/>
          <ac:spMkLst>
            <pc:docMk/>
            <pc:sldMk cId="4083170229" sldId="2147375897"/>
            <ac:spMk id="41" creationId="{D2C7D6A2-F129-4BF9-8CBA-5D6B3CC9A087}"/>
          </ac:spMkLst>
        </pc:spChg>
        <pc:spChg chg="mod">
          <ac:chgData name="Pirone, Chiara" userId="d9d5b965-323f-43ee-9ca8-6b95d06dc7f9" providerId="ADAL" clId="{EEA06CB2-82F2-4ED8-9229-4AD4686F732E}" dt="2022-05-17T11:31:50.392" v="8191" actId="1076"/>
          <ac:spMkLst>
            <pc:docMk/>
            <pc:sldMk cId="4083170229" sldId="2147375897"/>
            <ac:spMk id="42" creationId="{FA5460AE-AFA5-452D-9342-7D999FA1013F}"/>
          </ac:spMkLst>
        </pc:spChg>
        <pc:spChg chg="mod">
          <ac:chgData name="Pirone, Chiara" userId="d9d5b965-323f-43ee-9ca8-6b95d06dc7f9" providerId="ADAL" clId="{EEA06CB2-82F2-4ED8-9229-4AD4686F732E}" dt="2022-05-17T11:31:50.392" v="8191" actId="1076"/>
          <ac:spMkLst>
            <pc:docMk/>
            <pc:sldMk cId="4083170229" sldId="2147375897"/>
            <ac:spMk id="43" creationId="{865EDED7-87B3-44B8-A2E5-1FF5EE08E7EA}"/>
          </ac:spMkLst>
        </pc:spChg>
        <pc:spChg chg="mod">
          <ac:chgData name="Pirone, Chiara" userId="d9d5b965-323f-43ee-9ca8-6b95d06dc7f9" providerId="ADAL" clId="{EEA06CB2-82F2-4ED8-9229-4AD4686F732E}" dt="2022-05-17T11:31:50.392" v="8191" actId="1076"/>
          <ac:spMkLst>
            <pc:docMk/>
            <pc:sldMk cId="4083170229" sldId="2147375897"/>
            <ac:spMk id="44" creationId="{0FC1293A-44A3-441A-A81D-1D945F7535CB}"/>
          </ac:spMkLst>
        </pc:spChg>
        <pc:spChg chg="mod">
          <ac:chgData name="Pirone, Chiara" userId="d9d5b965-323f-43ee-9ca8-6b95d06dc7f9" providerId="ADAL" clId="{EEA06CB2-82F2-4ED8-9229-4AD4686F732E}" dt="2022-05-17T11:31:50.392" v="8191" actId="1076"/>
          <ac:spMkLst>
            <pc:docMk/>
            <pc:sldMk cId="4083170229" sldId="2147375897"/>
            <ac:spMk id="45" creationId="{04E0887C-FAF8-4BFB-8694-D5E9E5693767}"/>
          </ac:spMkLst>
        </pc:spChg>
        <pc:spChg chg="mod">
          <ac:chgData name="Pirone, Chiara" userId="d9d5b965-323f-43ee-9ca8-6b95d06dc7f9" providerId="ADAL" clId="{EEA06CB2-82F2-4ED8-9229-4AD4686F732E}" dt="2022-05-17T11:31:50.392" v="8191" actId="1076"/>
          <ac:spMkLst>
            <pc:docMk/>
            <pc:sldMk cId="4083170229" sldId="2147375897"/>
            <ac:spMk id="46" creationId="{28740BC6-0614-410B-88DC-D75FA7D428AC}"/>
          </ac:spMkLst>
        </pc:spChg>
        <pc:spChg chg="mod">
          <ac:chgData name="Pirone, Chiara" userId="d9d5b965-323f-43ee-9ca8-6b95d06dc7f9" providerId="ADAL" clId="{EEA06CB2-82F2-4ED8-9229-4AD4686F732E}" dt="2022-05-17T11:31:50.392" v="8191" actId="1076"/>
          <ac:spMkLst>
            <pc:docMk/>
            <pc:sldMk cId="4083170229" sldId="2147375897"/>
            <ac:spMk id="47" creationId="{129BF6C9-8C26-4B1C-9D8F-FAB4B7C5CC92}"/>
          </ac:spMkLst>
        </pc:spChg>
        <pc:spChg chg="add del mod">
          <ac:chgData name="Pirone, Chiara" userId="d9d5b965-323f-43ee-9ca8-6b95d06dc7f9" providerId="ADAL" clId="{EEA06CB2-82F2-4ED8-9229-4AD4686F732E}" dt="2022-05-17T11:31:29.451" v="8185" actId="478"/>
          <ac:spMkLst>
            <pc:docMk/>
            <pc:sldMk cId="4083170229" sldId="2147375897"/>
            <ac:spMk id="48" creationId="{8EEB0954-3F86-49E4-828F-CFB25EEA8117}"/>
          </ac:spMkLst>
        </pc:spChg>
        <pc:spChg chg="add del mod">
          <ac:chgData name="Pirone, Chiara" userId="d9d5b965-323f-43ee-9ca8-6b95d06dc7f9" providerId="ADAL" clId="{EEA06CB2-82F2-4ED8-9229-4AD4686F732E}" dt="2022-05-17T15:07:15.141" v="11394" actId="478"/>
          <ac:spMkLst>
            <pc:docMk/>
            <pc:sldMk cId="4083170229" sldId="2147375897"/>
            <ac:spMk id="49" creationId="{5BC61D26-2BA1-44C9-BFD9-0BD7F0A315C0}"/>
          </ac:spMkLst>
        </pc:spChg>
        <pc:spChg chg="add del mod">
          <ac:chgData name="Pirone, Chiara" userId="d9d5b965-323f-43ee-9ca8-6b95d06dc7f9" providerId="ADAL" clId="{EEA06CB2-82F2-4ED8-9229-4AD4686F732E}" dt="2022-05-17T15:05:09.316" v="11166" actId="478"/>
          <ac:spMkLst>
            <pc:docMk/>
            <pc:sldMk cId="4083170229" sldId="2147375897"/>
            <ac:spMk id="50" creationId="{C00E3912-F34F-44EB-988E-83132095458B}"/>
          </ac:spMkLst>
        </pc:spChg>
        <pc:spChg chg="add del mod">
          <ac:chgData name="Pirone, Chiara" userId="d9d5b965-323f-43ee-9ca8-6b95d06dc7f9" providerId="ADAL" clId="{EEA06CB2-82F2-4ED8-9229-4AD4686F732E}" dt="2022-05-17T15:07:15.975" v="11395" actId="478"/>
          <ac:spMkLst>
            <pc:docMk/>
            <pc:sldMk cId="4083170229" sldId="2147375897"/>
            <ac:spMk id="51" creationId="{69A1DEB7-2776-4E9E-8752-08858127DC22}"/>
          </ac:spMkLst>
        </pc:spChg>
        <pc:spChg chg="add del mod">
          <ac:chgData name="Pirone, Chiara" userId="d9d5b965-323f-43ee-9ca8-6b95d06dc7f9" providerId="ADAL" clId="{EEA06CB2-82F2-4ED8-9229-4AD4686F732E}" dt="2022-05-17T15:05:07.857" v="11165" actId="478"/>
          <ac:spMkLst>
            <pc:docMk/>
            <pc:sldMk cId="4083170229" sldId="2147375897"/>
            <ac:spMk id="52" creationId="{B5DCF56E-4946-4AA3-9144-5F3E92EB4D3C}"/>
          </ac:spMkLst>
        </pc:spChg>
        <pc:spChg chg="mod">
          <ac:chgData name="Pirone, Chiara" userId="d9d5b965-323f-43ee-9ca8-6b95d06dc7f9" providerId="ADAL" clId="{EEA06CB2-82F2-4ED8-9229-4AD4686F732E}" dt="2022-05-17T11:31:47.277" v="8190" actId="1076"/>
          <ac:spMkLst>
            <pc:docMk/>
            <pc:sldMk cId="4083170229" sldId="2147375897"/>
            <ac:spMk id="55" creationId="{402584B5-BF57-4AAC-BAC2-C54074172284}"/>
          </ac:spMkLst>
        </pc:spChg>
        <pc:spChg chg="mod">
          <ac:chgData name="Pirone, Chiara" userId="d9d5b965-323f-43ee-9ca8-6b95d06dc7f9" providerId="ADAL" clId="{EEA06CB2-82F2-4ED8-9229-4AD4686F732E}" dt="2022-05-17T11:31:47.277" v="8190" actId="1076"/>
          <ac:spMkLst>
            <pc:docMk/>
            <pc:sldMk cId="4083170229" sldId="2147375897"/>
            <ac:spMk id="56" creationId="{F1F78049-7CA2-42D5-9DA3-FD31933801AA}"/>
          </ac:spMkLst>
        </pc:spChg>
        <pc:spChg chg="mod">
          <ac:chgData name="Pirone, Chiara" userId="d9d5b965-323f-43ee-9ca8-6b95d06dc7f9" providerId="ADAL" clId="{EEA06CB2-82F2-4ED8-9229-4AD4686F732E}" dt="2022-05-17T11:31:47.277" v="8190" actId="1076"/>
          <ac:spMkLst>
            <pc:docMk/>
            <pc:sldMk cId="4083170229" sldId="2147375897"/>
            <ac:spMk id="57" creationId="{4BF12ABB-2312-4C0B-B0EB-3E3FB3B4D63B}"/>
          </ac:spMkLst>
        </pc:spChg>
        <pc:spChg chg="mod">
          <ac:chgData name="Pirone, Chiara" userId="d9d5b965-323f-43ee-9ca8-6b95d06dc7f9" providerId="ADAL" clId="{EEA06CB2-82F2-4ED8-9229-4AD4686F732E}" dt="2022-05-17T11:31:47.277" v="8190" actId="1076"/>
          <ac:spMkLst>
            <pc:docMk/>
            <pc:sldMk cId="4083170229" sldId="2147375897"/>
            <ac:spMk id="58" creationId="{E7C7837A-920E-429F-803F-B21A6CA856BB}"/>
          </ac:spMkLst>
        </pc:spChg>
        <pc:spChg chg="mod">
          <ac:chgData name="Pirone, Chiara" userId="d9d5b965-323f-43ee-9ca8-6b95d06dc7f9" providerId="ADAL" clId="{EEA06CB2-82F2-4ED8-9229-4AD4686F732E}" dt="2022-05-17T11:31:47.277" v="8190" actId="1076"/>
          <ac:spMkLst>
            <pc:docMk/>
            <pc:sldMk cId="4083170229" sldId="2147375897"/>
            <ac:spMk id="59" creationId="{3E7D9F55-27B9-4E71-8C5E-0CE52D03B410}"/>
          </ac:spMkLst>
        </pc:spChg>
        <pc:spChg chg="mod">
          <ac:chgData name="Pirone, Chiara" userId="d9d5b965-323f-43ee-9ca8-6b95d06dc7f9" providerId="ADAL" clId="{EEA06CB2-82F2-4ED8-9229-4AD4686F732E}" dt="2022-05-17T11:31:47.277" v="8190" actId="1076"/>
          <ac:spMkLst>
            <pc:docMk/>
            <pc:sldMk cId="4083170229" sldId="2147375897"/>
            <ac:spMk id="60" creationId="{91529EBC-0430-4CCA-AB59-C9A7A15C8211}"/>
          </ac:spMkLst>
        </pc:spChg>
        <pc:spChg chg="mod">
          <ac:chgData name="Pirone, Chiara" userId="d9d5b965-323f-43ee-9ca8-6b95d06dc7f9" providerId="ADAL" clId="{EEA06CB2-82F2-4ED8-9229-4AD4686F732E}" dt="2022-05-17T11:31:47.277" v="8190" actId="1076"/>
          <ac:spMkLst>
            <pc:docMk/>
            <pc:sldMk cId="4083170229" sldId="2147375897"/>
            <ac:spMk id="61" creationId="{D4A863A4-549B-41C0-9873-7BD68EEF0456}"/>
          </ac:spMkLst>
        </pc:spChg>
        <pc:spChg chg="mod">
          <ac:chgData name="Pirone, Chiara" userId="d9d5b965-323f-43ee-9ca8-6b95d06dc7f9" providerId="ADAL" clId="{EEA06CB2-82F2-4ED8-9229-4AD4686F732E}" dt="2022-05-17T11:31:47.277" v="8190" actId="1076"/>
          <ac:spMkLst>
            <pc:docMk/>
            <pc:sldMk cId="4083170229" sldId="2147375897"/>
            <ac:spMk id="62" creationId="{F6F1F757-4286-478B-ADBD-A109718C3A07}"/>
          </ac:spMkLst>
        </pc:spChg>
        <pc:spChg chg="mod">
          <ac:chgData name="Pirone, Chiara" userId="d9d5b965-323f-43ee-9ca8-6b95d06dc7f9" providerId="ADAL" clId="{EEA06CB2-82F2-4ED8-9229-4AD4686F732E}" dt="2022-05-17T11:31:47.277" v="8190" actId="1076"/>
          <ac:spMkLst>
            <pc:docMk/>
            <pc:sldMk cId="4083170229" sldId="2147375897"/>
            <ac:spMk id="63" creationId="{3BCBE0F2-7E5C-408A-916B-5BF1E5516FEA}"/>
          </ac:spMkLst>
        </pc:spChg>
        <pc:spChg chg="mod">
          <ac:chgData name="Pirone, Chiara" userId="d9d5b965-323f-43ee-9ca8-6b95d06dc7f9" providerId="ADAL" clId="{EEA06CB2-82F2-4ED8-9229-4AD4686F732E}" dt="2022-05-17T11:31:47.277" v="8190" actId="1076"/>
          <ac:spMkLst>
            <pc:docMk/>
            <pc:sldMk cId="4083170229" sldId="2147375897"/>
            <ac:spMk id="64" creationId="{21E48611-3226-4B4A-9AFF-E6B5CB9E31A4}"/>
          </ac:spMkLst>
        </pc:spChg>
        <pc:spChg chg="mod">
          <ac:chgData name="Pirone, Chiara" userId="d9d5b965-323f-43ee-9ca8-6b95d06dc7f9" providerId="ADAL" clId="{EEA06CB2-82F2-4ED8-9229-4AD4686F732E}" dt="2022-05-17T11:31:47.277" v="8190" actId="1076"/>
          <ac:spMkLst>
            <pc:docMk/>
            <pc:sldMk cId="4083170229" sldId="2147375897"/>
            <ac:spMk id="65" creationId="{4ADC735C-95B5-47BC-9F0C-3FA7D444E16D}"/>
          </ac:spMkLst>
        </pc:spChg>
        <pc:spChg chg="mod">
          <ac:chgData name="Pirone, Chiara" userId="d9d5b965-323f-43ee-9ca8-6b95d06dc7f9" providerId="ADAL" clId="{EEA06CB2-82F2-4ED8-9229-4AD4686F732E}" dt="2022-05-17T11:31:47.277" v="8190" actId="1076"/>
          <ac:spMkLst>
            <pc:docMk/>
            <pc:sldMk cId="4083170229" sldId="2147375897"/>
            <ac:spMk id="66" creationId="{B01AFCA4-C98F-4841-BF3C-ED56BCAFEAC8}"/>
          </ac:spMkLst>
        </pc:spChg>
        <pc:spChg chg="mod">
          <ac:chgData name="Pirone, Chiara" userId="d9d5b965-323f-43ee-9ca8-6b95d06dc7f9" providerId="ADAL" clId="{EEA06CB2-82F2-4ED8-9229-4AD4686F732E}" dt="2022-05-17T11:31:47.277" v="8190" actId="1076"/>
          <ac:spMkLst>
            <pc:docMk/>
            <pc:sldMk cId="4083170229" sldId="2147375897"/>
            <ac:spMk id="67" creationId="{2BEE47A7-FAF7-42A3-976F-A9FF988DDE89}"/>
          </ac:spMkLst>
        </pc:spChg>
        <pc:spChg chg="mod">
          <ac:chgData name="Pirone, Chiara" userId="d9d5b965-323f-43ee-9ca8-6b95d06dc7f9" providerId="ADAL" clId="{EEA06CB2-82F2-4ED8-9229-4AD4686F732E}" dt="2022-05-17T11:31:47.277" v="8190" actId="1076"/>
          <ac:spMkLst>
            <pc:docMk/>
            <pc:sldMk cId="4083170229" sldId="2147375897"/>
            <ac:spMk id="68" creationId="{658E5558-9954-481B-87AD-0AD5CD7C4D6B}"/>
          </ac:spMkLst>
        </pc:spChg>
        <pc:spChg chg="add mod">
          <ac:chgData name="Pirone, Chiara" userId="d9d5b965-323f-43ee-9ca8-6b95d06dc7f9" providerId="ADAL" clId="{EEA06CB2-82F2-4ED8-9229-4AD4686F732E}" dt="2022-05-17T15:43:00.097" v="13276" actId="12789"/>
          <ac:spMkLst>
            <pc:docMk/>
            <pc:sldMk cId="4083170229" sldId="2147375897"/>
            <ac:spMk id="70" creationId="{96E7A723-9B6F-49C7-9A91-EC7FC23A27D4}"/>
          </ac:spMkLst>
        </pc:spChg>
        <pc:spChg chg="add del mod">
          <ac:chgData name="Pirone, Chiara" userId="d9d5b965-323f-43ee-9ca8-6b95d06dc7f9" providerId="ADAL" clId="{EEA06CB2-82F2-4ED8-9229-4AD4686F732E}" dt="2022-05-17T15:05:07.857" v="11165" actId="478"/>
          <ac:spMkLst>
            <pc:docMk/>
            <pc:sldMk cId="4083170229" sldId="2147375897"/>
            <ac:spMk id="71" creationId="{ED1010E5-1A79-4570-853E-2AC93A10BBBC}"/>
          </ac:spMkLst>
        </pc:spChg>
        <pc:spChg chg="add del mod">
          <ac:chgData name="Pirone, Chiara" userId="d9d5b965-323f-43ee-9ca8-6b95d06dc7f9" providerId="ADAL" clId="{EEA06CB2-82F2-4ED8-9229-4AD4686F732E}" dt="2022-05-17T15:05:24.406" v="11173" actId="478"/>
          <ac:spMkLst>
            <pc:docMk/>
            <pc:sldMk cId="4083170229" sldId="2147375897"/>
            <ac:spMk id="72" creationId="{021D8E8B-F133-4712-8EC8-10FCBCFA8EE0}"/>
          </ac:spMkLst>
        </pc:spChg>
        <pc:spChg chg="add del mod">
          <ac:chgData name="Pirone, Chiara" userId="d9d5b965-323f-43ee-9ca8-6b95d06dc7f9" providerId="ADAL" clId="{EEA06CB2-82F2-4ED8-9229-4AD4686F732E}" dt="2022-05-17T15:05:39.219" v="11179" actId="478"/>
          <ac:spMkLst>
            <pc:docMk/>
            <pc:sldMk cId="4083170229" sldId="2147375897"/>
            <ac:spMk id="73" creationId="{569CB86D-66A0-4AB3-BFF9-FA861CB4F3A6}"/>
          </ac:spMkLst>
        </pc:spChg>
        <pc:spChg chg="add del mod">
          <ac:chgData name="Pirone, Chiara" userId="d9d5b965-323f-43ee-9ca8-6b95d06dc7f9" providerId="ADAL" clId="{EEA06CB2-82F2-4ED8-9229-4AD4686F732E}" dt="2022-05-17T15:07:12.734" v="11393" actId="478"/>
          <ac:spMkLst>
            <pc:docMk/>
            <pc:sldMk cId="4083170229" sldId="2147375897"/>
            <ac:spMk id="74" creationId="{19EA4169-C758-4046-B35D-DC892A8D73F6}"/>
          </ac:spMkLst>
        </pc:spChg>
        <pc:spChg chg="add mod">
          <ac:chgData name="Pirone, Chiara" userId="d9d5b965-323f-43ee-9ca8-6b95d06dc7f9" providerId="ADAL" clId="{EEA06CB2-82F2-4ED8-9229-4AD4686F732E}" dt="2022-05-17T15:43:04.973" v="13285" actId="1035"/>
          <ac:spMkLst>
            <pc:docMk/>
            <pc:sldMk cId="4083170229" sldId="2147375897"/>
            <ac:spMk id="75" creationId="{C2430E62-923E-4615-BDFE-00939D41AF36}"/>
          </ac:spMkLst>
        </pc:spChg>
        <pc:spChg chg="add mod">
          <ac:chgData name="Pirone, Chiara" userId="d9d5b965-323f-43ee-9ca8-6b95d06dc7f9" providerId="ADAL" clId="{EEA06CB2-82F2-4ED8-9229-4AD4686F732E}" dt="2022-05-17T15:43:20.065" v="13300" actId="14100"/>
          <ac:spMkLst>
            <pc:docMk/>
            <pc:sldMk cId="4083170229" sldId="2147375897"/>
            <ac:spMk id="76" creationId="{F1854225-6871-42D2-BD12-1B3C9BE0E22A}"/>
          </ac:spMkLst>
        </pc:spChg>
        <pc:spChg chg="add mod">
          <ac:chgData name="Pirone, Chiara" userId="d9d5b965-323f-43ee-9ca8-6b95d06dc7f9" providerId="ADAL" clId="{EEA06CB2-82F2-4ED8-9229-4AD4686F732E}" dt="2022-05-17T15:43:20.065" v="13300" actId="14100"/>
          <ac:spMkLst>
            <pc:docMk/>
            <pc:sldMk cId="4083170229" sldId="2147375897"/>
            <ac:spMk id="77" creationId="{64BB443B-FA67-4F8D-8809-5B2B259DA92B}"/>
          </ac:spMkLst>
        </pc:spChg>
        <pc:spChg chg="add del mod topLvl">
          <ac:chgData name="Pirone, Chiara" userId="d9d5b965-323f-43ee-9ca8-6b95d06dc7f9" providerId="ADAL" clId="{EEA06CB2-82F2-4ED8-9229-4AD4686F732E}" dt="2022-05-17T15:26:09.338" v="12675" actId="478"/>
          <ac:spMkLst>
            <pc:docMk/>
            <pc:sldMk cId="4083170229" sldId="2147375897"/>
            <ac:spMk id="95" creationId="{82A55725-F170-4EA5-BB4D-80BD178FAE32}"/>
          </ac:spMkLst>
        </pc:spChg>
        <pc:spChg chg="add del mod topLvl">
          <ac:chgData name="Pirone, Chiara" userId="d9d5b965-323f-43ee-9ca8-6b95d06dc7f9" providerId="ADAL" clId="{EEA06CB2-82F2-4ED8-9229-4AD4686F732E}" dt="2022-05-17T15:26:15.178" v="12677" actId="478"/>
          <ac:spMkLst>
            <pc:docMk/>
            <pc:sldMk cId="4083170229" sldId="2147375897"/>
            <ac:spMk id="96" creationId="{EC4E6DE9-85AF-4B4D-9CB9-474E1A98AB6B}"/>
          </ac:spMkLst>
        </pc:spChg>
        <pc:spChg chg="add mod topLvl">
          <ac:chgData name="Pirone, Chiara" userId="d9d5b965-323f-43ee-9ca8-6b95d06dc7f9" providerId="ADAL" clId="{EEA06CB2-82F2-4ED8-9229-4AD4686F732E}" dt="2022-05-17T15:43:11.515" v="13299" actId="1036"/>
          <ac:spMkLst>
            <pc:docMk/>
            <pc:sldMk cId="4083170229" sldId="2147375897"/>
            <ac:spMk id="97" creationId="{23C72CD3-E2D1-40D9-A22F-E49B70309F51}"/>
          </ac:spMkLst>
        </pc:spChg>
        <pc:spChg chg="add del mod">
          <ac:chgData name="Pirone, Chiara" userId="d9d5b965-323f-43ee-9ca8-6b95d06dc7f9" providerId="ADAL" clId="{EEA06CB2-82F2-4ED8-9229-4AD4686F732E}" dt="2022-05-17T15:23:21.220" v="12468" actId="478"/>
          <ac:spMkLst>
            <pc:docMk/>
            <pc:sldMk cId="4083170229" sldId="2147375897"/>
            <ac:spMk id="99" creationId="{94A0EE9C-D075-4550-95B6-2AA8E7155CA4}"/>
          </ac:spMkLst>
        </pc:spChg>
        <pc:spChg chg="add del mod">
          <ac:chgData name="Pirone, Chiara" userId="d9d5b965-323f-43ee-9ca8-6b95d06dc7f9" providerId="ADAL" clId="{EEA06CB2-82F2-4ED8-9229-4AD4686F732E}" dt="2022-05-17T15:23:20.042" v="12467" actId="478"/>
          <ac:spMkLst>
            <pc:docMk/>
            <pc:sldMk cId="4083170229" sldId="2147375897"/>
            <ac:spMk id="100" creationId="{A153A02A-82BC-4E1C-924C-D88A581F9BC8}"/>
          </ac:spMkLst>
        </pc:spChg>
        <pc:spChg chg="add mod">
          <ac:chgData name="Pirone, Chiara" userId="d9d5b965-323f-43ee-9ca8-6b95d06dc7f9" providerId="ADAL" clId="{EEA06CB2-82F2-4ED8-9229-4AD4686F732E}" dt="2022-05-17T15:43:11.515" v="13299" actId="1036"/>
          <ac:spMkLst>
            <pc:docMk/>
            <pc:sldMk cId="4083170229" sldId="2147375897"/>
            <ac:spMk id="101" creationId="{0384862F-2065-4994-B097-3716A7F54542}"/>
          </ac:spMkLst>
        </pc:spChg>
        <pc:spChg chg="add mod">
          <ac:chgData name="Pirone, Chiara" userId="d9d5b965-323f-43ee-9ca8-6b95d06dc7f9" providerId="ADAL" clId="{EEA06CB2-82F2-4ED8-9229-4AD4686F732E}" dt="2022-05-17T15:43:20.065" v="13300" actId="14100"/>
          <ac:spMkLst>
            <pc:docMk/>
            <pc:sldMk cId="4083170229" sldId="2147375897"/>
            <ac:spMk id="102" creationId="{FDFDBEA1-486B-4468-ACBA-34180E9F66A8}"/>
          </ac:spMkLst>
        </pc:spChg>
        <pc:spChg chg="add del mod">
          <ac:chgData name="Pirone, Chiara" userId="d9d5b965-323f-43ee-9ca8-6b95d06dc7f9" providerId="ADAL" clId="{EEA06CB2-82F2-4ED8-9229-4AD4686F732E}" dt="2022-05-17T15:26:18.255" v="12679" actId="478"/>
          <ac:spMkLst>
            <pc:docMk/>
            <pc:sldMk cId="4083170229" sldId="2147375897"/>
            <ac:spMk id="103" creationId="{174C194E-C345-49D7-9E38-D55C1DCF8148}"/>
          </ac:spMkLst>
        </pc:spChg>
        <pc:spChg chg="add mod">
          <ac:chgData name="Pirone, Chiara" userId="d9d5b965-323f-43ee-9ca8-6b95d06dc7f9" providerId="ADAL" clId="{EEA06CB2-82F2-4ED8-9229-4AD4686F732E}" dt="2022-05-17T15:43:11.515" v="13299" actId="1036"/>
          <ac:spMkLst>
            <pc:docMk/>
            <pc:sldMk cId="4083170229" sldId="2147375897"/>
            <ac:spMk id="104" creationId="{5A8F43E5-F4AF-40F4-A434-D49B55FB2274}"/>
          </ac:spMkLst>
        </pc:spChg>
        <pc:spChg chg="add del mod">
          <ac:chgData name="Pirone, Chiara" userId="d9d5b965-323f-43ee-9ca8-6b95d06dc7f9" providerId="ADAL" clId="{EEA06CB2-82F2-4ED8-9229-4AD4686F732E}" dt="2022-05-17T15:26:16.838" v="12678" actId="478"/>
          <ac:spMkLst>
            <pc:docMk/>
            <pc:sldMk cId="4083170229" sldId="2147375897"/>
            <ac:spMk id="105" creationId="{B984F084-7562-480C-B440-ABAD30F07030}"/>
          </ac:spMkLst>
        </pc:spChg>
        <pc:spChg chg="add del mod">
          <ac:chgData name="Pirone, Chiara" userId="d9d5b965-323f-43ee-9ca8-6b95d06dc7f9" providerId="ADAL" clId="{EEA06CB2-82F2-4ED8-9229-4AD4686F732E}" dt="2022-05-17T15:27:08.161" v="12722"/>
          <ac:spMkLst>
            <pc:docMk/>
            <pc:sldMk cId="4083170229" sldId="2147375897"/>
            <ac:spMk id="106" creationId="{48D269E2-DA82-4F65-B97B-C35ED262AC52}"/>
          </ac:spMkLst>
        </pc:spChg>
        <pc:spChg chg="mod">
          <ac:chgData name="Pirone, Chiara" userId="d9d5b965-323f-43ee-9ca8-6b95d06dc7f9" providerId="ADAL" clId="{EEA06CB2-82F2-4ED8-9229-4AD4686F732E}" dt="2022-05-17T11:31:03.430" v="8183"/>
          <ac:spMkLst>
            <pc:docMk/>
            <pc:sldMk cId="4083170229" sldId="2147375897"/>
            <ac:spMk id="137" creationId="{C0127670-E626-445F-930E-9E44C37BE878}"/>
          </ac:spMkLst>
        </pc:spChg>
        <pc:grpChg chg="del">
          <ac:chgData name="Pirone, Chiara" userId="d9d5b965-323f-43ee-9ca8-6b95d06dc7f9" providerId="ADAL" clId="{EEA06CB2-82F2-4ED8-9229-4AD4686F732E}" dt="2022-05-17T11:30:46.649" v="8134" actId="478"/>
          <ac:grpSpMkLst>
            <pc:docMk/>
            <pc:sldMk cId="4083170229" sldId="2147375897"/>
            <ac:grpSpMk id="9" creationId="{B8AC7FA6-E955-410E-B5EA-8095C3705B34}"/>
          </ac:grpSpMkLst>
        </pc:grpChg>
        <pc:grpChg chg="add del mod">
          <ac:chgData name="Pirone, Chiara" userId="d9d5b965-323f-43ee-9ca8-6b95d06dc7f9" providerId="ADAL" clId="{EEA06CB2-82F2-4ED8-9229-4AD4686F732E}" dt="2022-05-17T15:09:15.577" v="11786" actId="478"/>
          <ac:grpSpMkLst>
            <pc:docMk/>
            <pc:sldMk cId="4083170229" sldId="2147375897"/>
            <ac:grpSpMk id="33" creationId="{4E750DE4-5CA1-47D4-8392-9879B747DDB7}"/>
          </ac:grpSpMkLst>
        </pc:grpChg>
        <pc:grpChg chg="add del mod">
          <ac:chgData name="Pirone, Chiara" userId="d9d5b965-323f-43ee-9ca8-6b95d06dc7f9" providerId="ADAL" clId="{EEA06CB2-82F2-4ED8-9229-4AD4686F732E}" dt="2022-05-17T15:07:15.141" v="11394" actId="478"/>
          <ac:grpSpMkLst>
            <pc:docMk/>
            <pc:sldMk cId="4083170229" sldId="2147375897"/>
            <ac:grpSpMk id="54" creationId="{ACE4BCEB-2479-44E4-8969-C81D6458D535}"/>
          </ac:grpSpMkLst>
        </pc:grpChg>
        <pc:grpChg chg="add del mod">
          <ac:chgData name="Pirone, Chiara" userId="d9d5b965-323f-43ee-9ca8-6b95d06dc7f9" providerId="ADAL" clId="{EEA06CB2-82F2-4ED8-9229-4AD4686F732E}" dt="2022-05-17T15:16:53.381" v="12148" actId="165"/>
          <ac:grpSpMkLst>
            <pc:docMk/>
            <pc:sldMk cId="4083170229" sldId="2147375897"/>
            <ac:grpSpMk id="92" creationId="{82A30061-292A-4E47-BA85-096B57331825}"/>
          </ac:grpSpMkLst>
        </pc:grpChg>
        <pc:graphicFrameChg chg="del">
          <ac:chgData name="Pirone, Chiara" userId="d9d5b965-323f-43ee-9ca8-6b95d06dc7f9" providerId="ADAL" clId="{EEA06CB2-82F2-4ED8-9229-4AD4686F732E}" dt="2022-05-17T11:30:46.649" v="8134" actId="478"/>
          <ac:graphicFrameMkLst>
            <pc:docMk/>
            <pc:sldMk cId="4083170229" sldId="2147375897"/>
            <ac:graphicFrameMk id="8" creationId="{071E3960-2893-4D14-BEDC-FB5C61EF1463}"/>
          </ac:graphicFrameMkLst>
        </pc:graphicFrameChg>
        <pc:picChg chg="del">
          <ac:chgData name="Pirone, Chiara" userId="d9d5b965-323f-43ee-9ca8-6b95d06dc7f9" providerId="ADAL" clId="{EEA06CB2-82F2-4ED8-9229-4AD4686F732E}" dt="2022-05-17T11:30:48.411" v="8135" actId="478"/>
          <ac:picMkLst>
            <pc:docMk/>
            <pc:sldMk cId="4083170229" sldId="2147375897"/>
            <ac:picMk id="4" creationId="{576709BF-C8D5-4237-9145-9087416F4E79}"/>
          </ac:picMkLst>
        </pc:picChg>
        <pc:picChg chg="add mod">
          <ac:chgData name="Pirone, Chiara" userId="d9d5b965-323f-43ee-9ca8-6b95d06dc7f9" providerId="ADAL" clId="{EEA06CB2-82F2-4ED8-9229-4AD4686F732E}" dt="2022-05-17T15:43:11.515" v="13299" actId="1036"/>
          <ac:picMkLst>
            <pc:docMk/>
            <pc:sldMk cId="4083170229" sldId="2147375897"/>
            <ac:picMk id="5" creationId="{406BF342-25DB-4E39-A075-7B6123B2C5B3}"/>
          </ac:picMkLst>
        </pc:picChg>
        <pc:picChg chg="del">
          <ac:chgData name="Pirone, Chiara" userId="d9d5b965-323f-43ee-9ca8-6b95d06dc7f9" providerId="ADAL" clId="{EEA06CB2-82F2-4ED8-9229-4AD4686F732E}" dt="2022-05-17T11:30:46.649" v="8134" actId="478"/>
          <ac:picMkLst>
            <pc:docMk/>
            <pc:sldMk cId="4083170229" sldId="2147375897"/>
            <ac:picMk id="7" creationId="{79C2E922-22DF-4949-84FD-AF4E0C60A767}"/>
          </ac:picMkLst>
        </pc:picChg>
        <pc:picChg chg="add del mod">
          <ac:chgData name="Pirone, Chiara" userId="d9d5b965-323f-43ee-9ca8-6b95d06dc7f9" providerId="ADAL" clId="{EEA06CB2-82F2-4ED8-9229-4AD4686F732E}" dt="2022-05-17T11:31:41.794" v="8188" actId="478"/>
          <ac:picMkLst>
            <pc:docMk/>
            <pc:sldMk cId="4083170229" sldId="2147375897"/>
            <ac:picMk id="31" creationId="{E72D1ABE-B085-4BD8-861E-868B75CB8053}"/>
          </ac:picMkLst>
        </pc:picChg>
        <pc:picChg chg="add del mod">
          <ac:chgData name="Pirone, Chiara" userId="d9d5b965-323f-43ee-9ca8-6b95d06dc7f9" providerId="ADAL" clId="{EEA06CB2-82F2-4ED8-9229-4AD4686F732E}" dt="2022-05-17T15:07:15.975" v="11395" actId="478"/>
          <ac:picMkLst>
            <pc:docMk/>
            <pc:sldMk cId="4083170229" sldId="2147375897"/>
            <ac:picMk id="32" creationId="{BA74824D-250B-4115-B14D-8AA4BD5179D8}"/>
          </ac:picMkLst>
        </pc:picChg>
        <pc:picChg chg="add del mod">
          <ac:chgData name="Pirone, Chiara" userId="d9d5b965-323f-43ee-9ca8-6b95d06dc7f9" providerId="ADAL" clId="{EEA06CB2-82F2-4ED8-9229-4AD4686F732E}" dt="2022-05-17T15:07:15.975" v="11395" actId="478"/>
          <ac:picMkLst>
            <pc:docMk/>
            <pc:sldMk cId="4083170229" sldId="2147375897"/>
            <ac:picMk id="53" creationId="{45F18298-24F1-44F8-A9EB-58E98318BDBA}"/>
          </ac:picMkLst>
        </pc:picChg>
        <pc:picChg chg="add mod">
          <ac:chgData name="Pirone, Chiara" userId="d9d5b965-323f-43ee-9ca8-6b95d06dc7f9" providerId="ADAL" clId="{EEA06CB2-82F2-4ED8-9229-4AD4686F732E}" dt="2022-05-17T14:39:07.947" v="9767"/>
          <ac:picMkLst>
            <pc:docMk/>
            <pc:sldMk cId="4083170229" sldId="2147375897"/>
            <ac:picMk id="69" creationId="{F40D5541-1818-4323-BABB-D8B2B70E7A3C}"/>
          </ac:picMkLst>
        </pc:picChg>
        <pc:picChg chg="add del mod">
          <ac:chgData name="Pirone, Chiara" userId="d9d5b965-323f-43ee-9ca8-6b95d06dc7f9" providerId="ADAL" clId="{EEA06CB2-82F2-4ED8-9229-4AD4686F732E}" dt="2022-05-17T15:09:40.236" v="11821" actId="478"/>
          <ac:picMkLst>
            <pc:docMk/>
            <pc:sldMk cId="4083170229" sldId="2147375897"/>
            <ac:picMk id="78" creationId="{44CF527F-BBE1-423C-8361-17A54C4209E0}"/>
          </ac:picMkLst>
        </pc:picChg>
        <pc:picChg chg="add del mod">
          <ac:chgData name="Pirone, Chiara" userId="d9d5b965-323f-43ee-9ca8-6b95d06dc7f9" providerId="ADAL" clId="{EEA06CB2-82F2-4ED8-9229-4AD4686F732E}" dt="2022-05-17T15:09:40.236" v="11821" actId="478"/>
          <ac:picMkLst>
            <pc:docMk/>
            <pc:sldMk cId="4083170229" sldId="2147375897"/>
            <ac:picMk id="79" creationId="{C353669A-F5AB-4267-9864-F330CAFA239F}"/>
          </ac:picMkLst>
        </pc:picChg>
        <pc:picChg chg="add del mod">
          <ac:chgData name="Pirone, Chiara" userId="d9d5b965-323f-43ee-9ca8-6b95d06dc7f9" providerId="ADAL" clId="{EEA06CB2-82F2-4ED8-9229-4AD4686F732E}" dt="2022-05-17T15:09:40.236" v="11821" actId="478"/>
          <ac:picMkLst>
            <pc:docMk/>
            <pc:sldMk cId="4083170229" sldId="2147375897"/>
            <ac:picMk id="80" creationId="{B3C56328-693D-486F-9D48-8879E4D87476}"/>
          </ac:picMkLst>
        </pc:picChg>
        <pc:picChg chg="add del mod">
          <ac:chgData name="Pirone, Chiara" userId="d9d5b965-323f-43ee-9ca8-6b95d06dc7f9" providerId="ADAL" clId="{EEA06CB2-82F2-4ED8-9229-4AD4686F732E}" dt="2022-05-17T15:09:40.236" v="11821" actId="478"/>
          <ac:picMkLst>
            <pc:docMk/>
            <pc:sldMk cId="4083170229" sldId="2147375897"/>
            <ac:picMk id="81" creationId="{1ABBCA8A-7AA0-4607-B243-2E0B61CDE76A}"/>
          </ac:picMkLst>
        </pc:picChg>
        <pc:picChg chg="add del mod">
          <ac:chgData name="Pirone, Chiara" userId="d9d5b965-323f-43ee-9ca8-6b95d06dc7f9" providerId="ADAL" clId="{EEA06CB2-82F2-4ED8-9229-4AD4686F732E}" dt="2022-05-17T15:09:40.236" v="11821" actId="478"/>
          <ac:picMkLst>
            <pc:docMk/>
            <pc:sldMk cId="4083170229" sldId="2147375897"/>
            <ac:picMk id="82" creationId="{86C62166-9425-4DC8-89CE-A11192A41921}"/>
          </ac:picMkLst>
        </pc:picChg>
        <pc:picChg chg="add mod">
          <ac:chgData name="Pirone, Chiara" userId="d9d5b965-323f-43ee-9ca8-6b95d06dc7f9" providerId="ADAL" clId="{EEA06CB2-82F2-4ED8-9229-4AD4686F732E}" dt="2022-05-17T15:43:11.515" v="13299" actId="1036"/>
          <ac:picMkLst>
            <pc:docMk/>
            <pc:sldMk cId="4083170229" sldId="2147375897"/>
            <ac:picMk id="85" creationId="{1F929EF5-6F7F-4D77-8F1A-16524753663F}"/>
          </ac:picMkLst>
        </pc:picChg>
        <pc:picChg chg="add del mod">
          <ac:chgData name="Pirone, Chiara" userId="d9d5b965-323f-43ee-9ca8-6b95d06dc7f9" providerId="ADAL" clId="{EEA06CB2-82F2-4ED8-9229-4AD4686F732E}" dt="2022-05-17T15:11:27.619" v="11876" actId="478"/>
          <ac:picMkLst>
            <pc:docMk/>
            <pc:sldMk cId="4083170229" sldId="2147375897"/>
            <ac:picMk id="87" creationId="{E54B90AB-D45F-4D8C-B859-3277751FC25C}"/>
          </ac:picMkLst>
        </pc:picChg>
        <pc:picChg chg="add mod">
          <ac:chgData name="Pirone, Chiara" userId="d9d5b965-323f-43ee-9ca8-6b95d06dc7f9" providerId="ADAL" clId="{EEA06CB2-82F2-4ED8-9229-4AD4686F732E}" dt="2022-05-17T15:43:00.097" v="13276" actId="12789"/>
          <ac:picMkLst>
            <pc:docMk/>
            <pc:sldMk cId="4083170229" sldId="2147375897"/>
            <ac:picMk id="89" creationId="{7C05E958-C3FA-4FAE-88D7-1855830FA08A}"/>
          </ac:picMkLst>
        </pc:picChg>
        <pc:picChg chg="add mod">
          <ac:chgData name="Pirone, Chiara" userId="d9d5b965-323f-43ee-9ca8-6b95d06dc7f9" providerId="ADAL" clId="{EEA06CB2-82F2-4ED8-9229-4AD4686F732E}" dt="2022-05-17T15:43:04.973" v="13285" actId="1035"/>
          <ac:picMkLst>
            <pc:docMk/>
            <pc:sldMk cId="4083170229" sldId="2147375897"/>
            <ac:picMk id="91" creationId="{FEE4E981-4C62-4824-A016-4153DA5C1635}"/>
          </ac:picMkLst>
        </pc:picChg>
        <pc:picChg chg="add mod">
          <ac:chgData name="Pirone, Chiara" userId="d9d5b965-323f-43ee-9ca8-6b95d06dc7f9" providerId="ADAL" clId="{EEA06CB2-82F2-4ED8-9229-4AD4686F732E}" dt="2022-05-17T15:43:11.515" v="13299" actId="1036"/>
          <ac:picMkLst>
            <pc:docMk/>
            <pc:sldMk cId="4083170229" sldId="2147375897"/>
            <ac:picMk id="94" creationId="{22A8B3FE-FD25-478B-BC60-B69E4423E31A}"/>
          </ac:picMkLst>
        </pc:picChg>
        <pc:picChg chg="add mod">
          <ac:chgData name="Pirone, Chiara" userId="d9d5b965-323f-43ee-9ca8-6b95d06dc7f9" providerId="ADAL" clId="{EEA06CB2-82F2-4ED8-9229-4AD4686F732E}" dt="2022-05-17T15:43:11.515" v="13299" actId="1036"/>
          <ac:picMkLst>
            <pc:docMk/>
            <pc:sldMk cId="4083170229" sldId="2147375897"/>
            <ac:picMk id="107" creationId="{33D5785D-D915-480C-B3AE-333FC8D5815A}"/>
          </ac:picMkLst>
        </pc:picChg>
        <pc:picChg chg="add del mod">
          <ac:chgData name="Pirone, Chiara" userId="d9d5b965-323f-43ee-9ca8-6b95d06dc7f9" providerId="ADAL" clId="{EEA06CB2-82F2-4ED8-9229-4AD4686F732E}" dt="2022-05-17T15:40:55.369" v="13215" actId="478"/>
          <ac:picMkLst>
            <pc:docMk/>
            <pc:sldMk cId="4083170229" sldId="2147375897"/>
            <ac:picMk id="109" creationId="{C9B46493-63A9-4ED7-808B-FBA19C1EE014}"/>
          </ac:picMkLst>
        </pc:picChg>
        <pc:picChg chg="add del mod">
          <ac:chgData name="Pirone, Chiara" userId="d9d5b965-323f-43ee-9ca8-6b95d06dc7f9" providerId="ADAL" clId="{EEA06CB2-82F2-4ED8-9229-4AD4686F732E}" dt="2022-05-17T15:40:55.369" v="13215" actId="478"/>
          <ac:picMkLst>
            <pc:docMk/>
            <pc:sldMk cId="4083170229" sldId="2147375897"/>
            <ac:picMk id="111" creationId="{13DDCD58-1C4B-409A-A616-6136ECB478FE}"/>
          </ac:picMkLst>
        </pc:picChg>
        <pc:picChg chg="add del mod">
          <ac:chgData name="Pirone, Chiara" userId="d9d5b965-323f-43ee-9ca8-6b95d06dc7f9" providerId="ADAL" clId="{EEA06CB2-82F2-4ED8-9229-4AD4686F732E}" dt="2022-05-17T15:40:13.236" v="13162" actId="478"/>
          <ac:picMkLst>
            <pc:docMk/>
            <pc:sldMk cId="4083170229" sldId="2147375897"/>
            <ac:picMk id="113" creationId="{8A54F2F2-B7BD-4B55-A325-E16CA1E0A053}"/>
          </ac:picMkLst>
        </pc:picChg>
        <pc:picChg chg="add mod">
          <ac:chgData name="Pirone, Chiara" userId="d9d5b965-323f-43ee-9ca8-6b95d06dc7f9" providerId="ADAL" clId="{EEA06CB2-82F2-4ED8-9229-4AD4686F732E}" dt="2022-05-17T15:43:11.515" v="13299" actId="1036"/>
          <ac:picMkLst>
            <pc:docMk/>
            <pc:sldMk cId="4083170229" sldId="2147375897"/>
            <ac:picMk id="117" creationId="{857AEA1D-DB49-4AEC-958D-7CF8B3A8E2F3}"/>
          </ac:picMkLst>
        </pc:picChg>
        <pc:picChg chg="add mod">
          <ac:chgData name="Pirone, Chiara" userId="d9d5b965-323f-43ee-9ca8-6b95d06dc7f9" providerId="ADAL" clId="{EEA06CB2-82F2-4ED8-9229-4AD4686F732E}" dt="2022-05-17T15:43:11.515" v="13299" actId="1036"/>
          <ac:picMkLst>
            <pc:docMk/>
            <pc:sldMk cId="4083170229" sldId="2147375897"/>
            <ac:picMk id="118" creationId="{842388C1-50F1-414E-AF51-82BE1C1A11DF}"/>
          </ac:picMkLst>
        </pc:picChg>
        <pc:picChg chg="mod">
          <ac:chgData name="Pirone, Chiara" userId="d9d5b965-323f-43ee-9ca8-6b95d06dc7f9" providerId="ADAL" clId="{EEA06CB2-82F2-4ED8-9229-4AD4686F732E}" dt="2022-05-17T15:30:30.296" v="12931" actId="1076"/>
          <ac:picMkLst>
            <pc:docMk/>
            <pc:sldMk cId="4083170229" sldId="2147375897"/>
            <ac:picMk id="136" creationId="{F59F0E29-A8B0-469E-85B4-66652E149CD6}"/>
          </ac:picMkLst>
        </pc:picChg>
        <pc:cxnChg chg="add mod">
          <ac:chgData name="Pirone, Chiara" userId="d9d5b965-323f-43ee-9ca8-6b95d06dc7f9" providerId="ADAL" clId="{EEA06CB2-82F2-4ED8-9229-4AD4686F732E}" dt="2022-05-17T15:41:31.349" v="13266" actId="1037"/>
          <ac:cxnSpMkLst>
            <pc:docMk/>
            <pc:sldMk cId="4083170229" sldId="2147375897"/>
            <ac:cxnSpMk id="83" creationId="{EE549AC5-6BEF-4B30-A36B-47A303CFD596}"/>
          </ac:cxnSpMkLst>
        </pc:cxnChg>
        <pc:cxnChg chg="add mod">
          <ac:chgData name="Pirone, Chiara" userId="d9d5b965-323f-43ee-9ca8-6b95d06dc7f9" providerId="ADAL" clId="{EEA06CB2-82F2-4ED8-9229-4AD4686F732E}" dt="2022-05-17T15:41:31.349" v="13266" actId="1037"/>
          <ac:cxnSpMkLst>
            <pc:docMk/>
            <pc:sldMk cId="4083170229" sldId="2147375897"/>
            <ac:cxnSpMk id="84" creationId="{D98F7988-EE91-44DC-A3EE-F63D1ADA019E}"/>
          </ac:cxnSpMkLst>
        </pc:cxnChg>
      </pc:sldChg>
      <pc:sldChg chg="addSp delSp modSp add mod">
        <pc:chgData name="Pirone, Chiara" userId="d9d5b965-323f-43ee-9ca8-6b95d06dc7f9" providerId="ADAL" clId="{EEA06CB2-82F2-4ED8-9229-4AD4686F732E}" dt="2022-05-17T14:59:00.897" v="10889" actId="207"/>
        <pc:sldMkLst>
          <pc:docMk/>
          <pc:sldMk cId="2127046170" sldId="2147375898"/>
        </pc:sldMkLst>
        <pc:spChg chg="add mod">
          <ac:chgData name="Pirone, Chiara" userId="d9d5b965-323f-43ee-9ca8-6b95d06dc7f9" providerId="ADAL" clId="{EEA06CB2-82F2-4ED8-9229-4AD4686F732E}" dt="2022-05-17T14:56:46.929" v="10791"/>
          <ac:spMkLst>
            <pc:docMk/>
            <pc:sldMk cId="2127046170" sldId="2147375898"/>
            <ac:spMk id="24" creationId="{14730812-4F1B-41EB-BDC3-C8AE2CDE0949}"/>
          </ac:spMkLst>
        </pc:spChg>
        <pc:spChg chg="add mod">
          <ac:chgData name="Pirone, Chiara" userId="d9d5b965-323f-43ee-9ca8-6b95d06dc7f9" providerId="ADAL" clId="{EEA06CB2-82F2-4ED8-9229-4AD4686F732E}" dt="2022-05-17T14:58:53.491" v="10886" actId="207"/>
          <ac:spMkLst>
            <pc:docMk/>
            <pc:sldMk cId="2127046170" sldId="2147375898"/>
            <ac:spMk id="25" creationId="{98BFD1EB-0E6F-4A13-8942-A1E42538C67E}"/>
          </ac:spMkLst>
        </pc:spChg>
        <pc:spChg chg="add del mod">
          <ac:chgData name="Pirone, Chiara" userId="d9d5b965-323f-43ee-9ca8-6b95d06dc7f9" providerId="ADAL" clId="{EEA06CB2-82F2-4ED8-9229-4AD4686F732E}" dt="2022-05-17T14:57:16.666" v="10823" actId="478"/>
          <ac:spMkLst>
            <pc:docMk/>
            <pc:sldMk cId="2127046170" sldId="2147375898"/>
            <ac:spMk id="26" creationId="{D04314FF-9435-4FEC-935C-891726C7519F}"/>
          </ac:spMkLst>
        </pc:spChg>
        <pc:spChg chg="add del mod">
          <ac:chgData name="Pirone, Chiara" userId="d9d5b965-323f-43ee-9ca8-6b95d06dc7f9" providerId="ADAL" clId="{EEA06CB2-82F2-4ED8-9229-4AD4686F732E}" dt="2022-05-17T14:57:51.970" v="10861" actId="478"/>
          <ac:spMkLst>
            <pc:docMk/>
            <pc:sldMk cId="2127046170" sldId="2147375898"/>
            <ac:spMk id="27" creationId="{B5C496F4-33EF-4470-9710-B24074B93EBA}"/>
          </ac:spMkLst>
        </pc:spChg>
        <pc:spChg chg="add del mod">
          <ac:chgData name="Pirone, Chiara" userId="d9d5b965-323f-43ee-9ca8-6b95d06dc7f9" providerId="ADAL" clId="{EEA06CB2-82F2-4ED8-9229-4AD4686F732E}" dt="2022-05-17T14:57:37.187" v="10842" actId="478"/>
          <ac:spMkLst>
            <pc:docMk/>
            <pc:sldMk cId="2127046170" sldId="2147375898"/>
            <ac:spMk id="30" creationId="{DBE3515B-6982-4186-BD03-0F67079E5A67}"/>
          </ac:spMkLst>
        </pc:spChg>
        <pc:spChg chg="add del mod">
          <ac:chgData name="Pirone, Chiara" userId="d9d5b965-323f-43ee-9ca8-6b95d06dc7f9" providerId="ADAL" clId="{EEA06CB2-82F2-4ED8-9229-4AD4686F732E}" dt="2022-05-17T14:58:05.197" v="10880" actId="478"/>
          <ac:spMkLst>
            <pc:docMk/>
            <pc:sldMk cId="2127046170" sldId="2147375898"/>
            <ac:spMk id="32" creationId="{07C5EE2E-D9F6-4E32-9D12-4D912EACB8C2}"/>
          </ac:spMkLst>
        </pc:spChg>
        <pc:spChg chg="del">
          <ac:chgData name="Pirone, Chiara" userId="d9d5b965-323f-43ee-9ca8-6b95d06dc7f9" providerId="ADAL" clId="{EEA06CB2-82F2-4ED8-9229-4AD4686F732E}" dt="2022-05-17T14:56:39.845" v="10789" actId="478"/>
          <ac:spMkLst>
            <pc:docMk/>
            <pc:sldMk cId="2127046170" sldId="2147375898"/>
            <ac:spMk id="40" creationId="{D5D6014B-04B8-4C31-899A-15504DC6AC9B}"/>
          </ac:spMkLst>
        </pc:spChg>
        <pc:spChg chg="del">
          <ac:chgData name="Pirone, Chiara" userId="d9d5b965-323f-43ee-9ca8-6b95d06dc7f9" providerId="ADAL" clId="{EEA06CB2-82F2-4ED8-9229-4AD4686F732E}" dt="2022-05-17T14:56:39.845" v="10789" actId="478"/>
          <ac:spMkLst>
            <pc:docMk/>
            <pc:sldMk cId="2127046170" sldId="2147375898"/>
            <ac:spMk id="43" creationId="{0741A32F-DFB1-412C-AA34-6C248EE9B662}"/>
          </ac:spMkLst>
        </pc:spChg>
        <pc:spChg chg="del">
          <ac:chgData name="Pirone, Chiara" userId="d9d5b965-323f-43ee-9ca8-6b95d06dc7f9" providerId="ADAL" clId="{EEA06CB2-82F2-4ED8-9229-4AD4686F732E}" dt="2022-05-17T14:56:41.040" v="10790" actId="478"/>
          <ac:spMkLst>
            <pc:docMk/>
            <pc:sldMk cId="2127046170" sldId="2147375898"/>
            <ac:spMk id="44" creationId="{3BE5D3A5-4C26-4D30-8D9A-74C8C8288B31}"/>
          </ac:spMkLst>
        </pc:spChg>
        <pc:spChg chg="add mod">
          <ac:chgData name="Pirone, Chiara" userId="d9d5b965-323f-43ee-9ca8-6b95d06dc7f9" providerId="ADAL" clId="{EEA06CB2-82F2-4ED8-9229-4AD4686F732E}" dt="2022-05-17T14:58:51.179" v="10885" actId="207"/>
          <ac:spMkLst>
            <pc:docMk/>
            <pc:sldMk cId="2127046170" sldId="2147375898"/>
            <ac:spMk id="45" creationId="{B6C6227D-BFEF-4CF7-A8B9-5EE6A3ADDB6D}"/>
          </ac:spMkLst>
        </pc:spChg>
        <pc:spChg chg="add mod">
          <ac:chgData name="Pirone, Chiara" userId="d9d5b965-323f-43ee-9ca8-6b95d06dc7f9" providerId="ADAL" clId="{EEA06CB2-82F2-4ED8-9229-4AD4686F732E}" dt="2022-05-17T14:58:56.257" v="10887" actId="207"/>
          <ac:spMkLst>
            <pc:docMk/>
            <pc:sldMk cId="2127046170" sldId="2147375898"/>
            <ac:spMk id="46" creationId="{33E9CBF0-12D5-45C5-ACA2-74972010A76A}"/>
          </ac:spMkLst>
        </pc:spChg>
        <pc:spChg chg="del">
          <ac:chgData name="Pirone, Chiara" userId="d9d5b965-323f-43ee-9ca8-6b95d06dc7f9" providerId="ADAL" clId="{EEA06CB2-82F2-4ED8-9229-4AD4686F732E}" dt="2022-05-17T14:56:39.845" v="10789" actId="478"/>
          <ac:spMkLst>
            <pc:docMk/>
            <pc:sldMk cId="2127046170" sldId="2147375898"/>
            <ac:spMk id="47" creationId="{437B0ACC-0229-47BA-A4D1-E1D6E9909922}"/>
          </ac:spMkLst>
        </pc:spChg>
        <pc:spChg chg="add mod">
          <ac:chgData name="Pirone, Chiara" userId="d9d5b965-323f-43ee-9ca8-6b95d06dc7f9" providerId="ADAL" clId="{EEA06CB2-82F2-4ED8-9229-4AD4686F732E}" dt="2022-05-17T14:59:00.897" v="10889" actId="207"/>
          <ac:spMkLst>
            <pc:docMk/>
            <pc:sldMk cId="2127046170" sldId="2147375898"/>
            <ac:spMk id="49" creationId="{6ADFD2F3-913E-42A6-8E21-57D101CE3811}"/>
          </ac:spMkLst>
        </pc:spChg>
        <pc:spChg chg="add mod">
          <ac:chgData name="Pirone, Chiara" userId="d9d5b965-323f-43ee-9ca8-6b95d06dc7f9" providerId="ADAL" clId="{EEA06CB2-82F2-4ED8-9229-4AD4686F732E}" dt="2022-05-17T14:58:58.293" v="10888" actId="207"/>
          <ac:spMkLst>
            <pc:docMk/>
            <pc:sldMk cId="2127046170" sldId="2147375898"/>
            <ac:spMk id="51" creationId="{E9E5B764-5928-47A6-BDBE-ACFEC944563C}"/>
          </ac:spMkLst>
        </pc:spChg>
        <pc:spChg chg="del">
          <ac:chgData name="Pirone, Chiara" userId="d9d5b965-323f-43ee-9ca8-6b95d06dc7f9" providerId="ADAL" clId="{EEA06CB2-82F2-4ED8-9229-4AD4686F732E}" dt="2022-05-17T14:56:39.845" v="10789" actId="478"/>
          <ac:spMkLst>
            <pc:docMk/>
            <pc:sldMk cId="2127046170" sldId="2147375898"/>
            <ac:spMk id="52" creationId="{D2F1671B-EB2A-4F3E-B40A-11FC2D077483}"/>
          </ac:spMkLst>
        </pc:spChg>
        <pc:spChg chg="del">
          <ac:chgData name="Pirone, Chiara" userId="d9d5b965-323f-43ee-9ca8-6b95d06dc7f9" providerId="ADAL" clId="{EEA06CB2-82F2-4ED8-9229-4AD4686F732E}" dt="2022-05-17T14:56:39.845" v="10789" actId="478"/>
          <ac:spMkLst>
            <pc:docMk/>
            <pc:sldMk cId="2127046170" sldId="2147375898"/>
            <ac:spMk id="68" creationId="{AAFCE447-AC7E-4C7B-948E-325CA7DBC734}"/>
          </ac:spMkLst>
        </pc:spChg>
        <pc:picChg chg="del">
          <ac:chgData name="Pirone, Chiara" userId="d9d5b965-323f-43ee-9ca8-6b95d06dc7f9" providerId="ADAL" clId="{EEA06CB2-82F2-4ED8-9229-4AD4686F732E}" dt="2022-05-17T14:56:39.845" v="10789" actId="478"/>
          <ac:picMkLst>
            <pc:docMk/>
            <pc:sldMk cId="2127046170" sldId="2147375898"/>
            <ac:picMk id="9" creationId="{D166A128-F670-49C9-833C-CB1B259DEFA1}"/>
          </ac:picMkLst>
        </pc:picChg>
        <pc:picChg chg="del">
          <ac:chgData name="Pirone, Chiara" userId="d9d5b965-323f-43ee-9ca8-6b95d06dc7f9" providerId="ADAL" clId="{EEA06CB2-82F2-4ED8-9229-4AD4686F732E}" dt="2022-05-17T14:56:39.845" v="10789" actId="478"/>
          <ac:picMkLst>
            <pc:docMk/>
            <pc:sldMk cId="2127046170" sldId="2147375898"/>
            <ac:picMk id="11" creationId="{7C2D40AB-FD37-4065-B7F3-C7AEDD28BE60}"/>
          </ac:picMkLst>
        </pc:picChg>
        <pc:picChg chg="del">
          <ac:chgData name="Pirone, Chiara" userId="d9d5b965-323f-43ee-9ca8-6b95d06dc7f9" providerId="ADAL" clId="{EEA06CB2-82F2-4ED8-9229-4AD4686F732E}" dt="2022-05-17T14:56:39.845" v="10789" actId="478"/>
          <ac:picMkLst>
            <pc:docMk/>
            <pc:sldMk cId="2127046170" sldId="2147375898"/>
            <ac:picMk id="13" creationId="{E21805CB-0DB2-497E-BF06-484A09D068CB}"/>
          </ac:picMkLst>
        </pc:picChg>
        <pc:picChg chg="del">
          <ac:chgData name="Pirone, Chiara" userId="d9d5b965-323f-43ee-9ca8-6b95d06dc7f9" providerId="ADAL" clId="{EEA06CB2-82F2-4ED8-9229-4AD4686F732E}" dt="2022-05-17T14:56:39.845" v="10789" actId="478"/>
          <ac:picMkLst>
            <pc:docMk/>
            <pc:sldMk cId="2127046170" sldId="2147375898"/>
            <ac:picMk id="15" creationId="{59601D40-B13C-4B77-9E8D-53F6E3B0E6BC}"/>
          </ac:picMkLst>
        </pc:picChg>
        <pc:picChg chg="add del mod">
          <ac:chgData name="Pirone, Chiara" userId="d9d5b965-323f-43ee-9ca8-6b95d06dc7f9" providerId="ADAL" clId="{EEA06CB2-82F2-4ED8-9229-4AD4686F732E}" dt="2022-05-17T14:58:05.197" v="10880" actId="478"/>
          <ac:picMkLst>
            <pc:docMk/>
            <pc:sldMk cId="2127046170" sldId="2147375898"/>
            <ac:picMk id="33" creationId="{F64A32DC-CA60-429A-9D94-DE4FC0E735A5}"/>
          </ac:picMkLst>
        </pc:picChg>
        <pc:picChg chg="add del mod">
          <ac:chgData name="Pirone, Chiara" userId="d9d5b965-323f-43ee-9ca8-6b95d06dc7f9" providerId="ADAL" clId="{EEA06CB2-82F2-4ED8-9229-4AD4686F732E}" dt="2022-05-17T14:57:51.970" v="10861" actId="478"/>
          <ac:picMkLst>
            <pc:docMk/>
            <pc:sldMk cId="2127046170" sldId="2147375898"/>
            <ac:picMk id="36" creationId="{7EAB2DC5-0DDF-44DC-878E-FAF62595FE54}"/>
          </ac:picMkLst>
        </pc:picChg>
        <pc:picChg chg="add del mod">
          <ac:chgData name="Pirone, Chiara" userId="d9d5b965-323f-43ee-9ca8-6b95d06dc7f9" providerId="ADAL" clId="{EEA06CB2-82F2-4ED8-9229-4AD4686F732E}" dt="2022-05-17T14:57:37.187" v="10842" actId="478"/>
          <ac:picMkLst>
            <pc:docMk/>
            <pc:sldMk cId="2127046170" sldId="2147375898"/>
            <ac:picMk id="39" creationId="{922D734C-63E2-4EEE-A87C-A0F61867FCD2}"/>
          </ac:picMkLst>
        </pc:picChg>
        <pc:picChg chg="add del mod">
          <ac:chgData name="Pirone, Chiara" userId="d9d5b965-323f-43ee-9ca8-6b95d06dc7f9" providerId="ADAL" clId="{EEA06CB2-82F2-4ED8-9229-4AD4686F732E}" dt="2022-05-17T14:57:16.666" v="10823" actId="478"/>
          <ac:picMkLst>
            <pc:docMk/>
            <pc:sldMk cId="2127046170" sldId="2147375898"/>
            <ac:picMk id="41" creationId="{76B523D8-2B47-41BC-8EBD-96754D982DE1}"/>
          </ac:picMkLst>
        </pc:picChg>
        <pc:picChg chg="add mod">
          <ac:chgData name="Pirone, Chiara" userId="d9d5b965-323f-43ee-9ca8-6b95d06dc7f9" providerId="ADAL" clId="{EEA06CB2-82F2-4ED8-9229-4AD4686F732E}" dt="2022-05-17T14:57:14.267" v="10822"/>
          <ac:picMkLst>
            <pc:docMk/>
            <pc:sldMk cId="2127046170" sldId="2147375898"/>
            <ac:picMk id="42" creationId="{31714709-E8CE-49A8-B423-DC440A76613E}"/>
          </ac:picMkLst>
        </pc:picChg>
        <pc:picChg chg="add mod">
          <ac:chgData name="Pirone, Chiara" userId="d9d5b965-323f-43ee-9ca8-6b95d06dc7f9" providerId="ADAL" clId="{EEA06CB2-82F2-4ED8-9229-4AD4686F732E}" dt="2022-05-17T14:57:34.911" v="10841"/>
          <ac:picMkLst>
            <pc:docMk/>
            <pc:sldMk cId="2127046170" sldId="2147375898"/>
            <ac:picMk id="48" creationId="{D45012E5-C1AA-4296-8C32-2D00BE8745CB}"/>
          </ac:picMkLst>
        </pc:picChg>
        <pc:picChg chg="add mod">
          <ac:chgData name="Pirone, Chiara" userId="d9d5b965-323f-43ee-9ca8-6b95d06dc7f9" providerId="ADAL" clId="{EEA06CB2-82F2-4ED8-9229-4AD4686F732E}" dt="2022-05-17T14:57:47.575" v="10848"/>
          <ac:picMkLst>
            <pc:docMk/>
            <pc:sldMk cId="2127046170" sldId="2147375898"/>
            <ac:picMk id="50" creationId="{AFC3743B-350D-41EA-80A3-E68055F5B9F5}"/>
          </ac:picMkLst>
        </pc:picChg>
        <pc:picChg chg="add mod">
          <ac:chgData name="Pirone, Chiara" userId="d9d5b965-323f-43ee-9ca8-6b95d06dc7f9" providerId="ADAL" clId="{EEA06CB2-82F2-4ED8-9229-4AD4686F732E}" dt="2022-05-17T14:58:00.574" v="10871"/>
          <ac:picMkLst>
            <pc:docMk/>
            <pc:sldMk cId="2127046170" sldId="2147375898"/>
            <ac:picMk id="53" creationId="{054B2F67-5E73-4340-B7A7-6BC972B0B659}"/>
          </ac:picMkLst>
        </pc:picChg>
      </pc:sldChg>
      <pc:sldMasterChg chg="delSp modSp mod">
        <pc:chgData name="Pirone, Chiara" userId="d9d5b965-323f-43ee-9ca8-6b95d06dc7f9" providerId="ADAL" clId="{EEA06CB2-82F2-4ED8-9229-4AD4686F732E}" dt="2022-05-17T14:38:18.034" v="9759" actId="478"/>
        <pc:sldMasterMkLst>
          <pc:docMk/>
          <pc:sldMasterMk cId="1710214691" sldId="2147483667"/>
        </pc:sldMasterMkLst>
        <pc:spChg chg="del mod">
          <ac:chgData name="Pirone, Chiara" userId="d9d5b965-323f-43ee-9ca8-6b95d06dc7f9" providerId="ADAL" clId="{EEA06CB2-82F2-4ED8-9229-4AD4686F732E}" dt="2022-05-17T14:38:18.034" v="9759" actId="478"/>
          <ac:spMkLst>
            <pc:docMk/>
            <pc:sldMasterMk cId="1710214691" sldId="2147483667"/>
            <ac:spMk id="7" creationId="{CC11CACA-3D43-6842-94A5-90E1FE5ACAA5}"/>
          </ac:spMkLst>
        </pc:spChg>
      </pc:sldMasterChg>
      <pc:sldMasterChg chg="delSp mod">
        <pc:chgData name="Pirone, Chiara" userId="d9d5b965-323f-43ee-9ca8-6b95d06dc7f9" providerId="ADAL" clId="{EEA06CB2-82F2-4ED8-9229-4AD4686F732E}" dt="2022-05-17T14:38:40.974" v="9760" actId="478"/>
        <pc:sldMasterMkLst>
          <pc:docMk/>
          <pc:sldMasterMk cId="1740912526" sldId="2147483698"/>
        </pc:sldMasterMkLst>
        <pc:spChg chg="del">
          <ac:chgData name="Pirone, Chiara" userId="d9d5b965-323f-43ee-9ca8-6b95d06dc7f9" providerId="ADAL" clId="{EEA06CB2-82F2-4ED8-9229-4AD4686F732E}" dt="2022-05-17T14:38:40.974" v="9760" actId="478"/>
          <ac:spMkLst>
            <pc:docMk/>
            <pc:sldMasterMk cId="1740912526" sldId="2147483698"/>
            <ac:spMk id="7" creationId="{CC11CACA-3D43-6842-94A5-90E1FE5ACAA5}"/>
          </ac:spMkLst>
        </pc:spChg>
      </pc:sldMasterChg>
      <pc:sldMasterChg chg="del delSldLayout">
        <pc:chgData name="Pirone, Chiara" userId="d9d5b965-323f-43ee-9ca8-6b95d06dc7f9" providerId="ADAL" clId="{EEA06CB2-82F2-4ED8-9229-4AD4686F732E}" dt="2022-05-16T15:24:20.133" v="5400" actId="47"/>
        <pc:sldMasterMkLst>
          <pc:docMk/>
          <pc:sldMasterMk cId="2862754151" sldId="2147483716"/>
        </pc:sldMasterMkLst>
        <pc:sldLayoutChg chg="del">
          <pc:chgData name="Pirone, Chiara" userId="d9d5b965-323f-43ee-9ca8-6b95d06dc7f9" providerId="ADAL" clId="{EEA06CB2-82F2-4ED8-9229-4AD4686F732E}" dt="2022-05-16T15:24:20.133" v="5400" actId="47"/>
          <pc:sldLayoutMkLst>
            <pc:docMk/>
            <pc:sldMasterMk cId="2862754151" sldId="2147483716"/>
            <pc:sldLayoutMk cId="635890558" sldId="2147483717"/>
          </pc:sldLayoutMkLst>
        </pc:sldLayoutChg>
        <pc:sldLayoutChg chg="del">
          <pc:chgData name="Pirone, Chiara" userId="d9d5b965-323f-43ee-9ca8-6b95d06dc7f9" providerId="ADAL" clId="{EEA06CB2-82F2-4ED8-9229-4AD4686F732E}" dt="2022-05-16T15:24:20.133" v="5400" actId="47"/>
          <pc:sldLayoutMkLst>
            <pc:docMk/>
            <pc:sldMasterMk cId="2862754151" sldId="2147483716"/>
            <pc:sldLayoutMk cId="2381168723" sldId="2147483718"/>
          </pc:sldLayoutMkLst>
        </pc:sldLayoutChg>
        <pc:sldLayoutChg chg="del">
          <pc:chgData name="Pirone, Chiara" userId="d9d5b965-323f-43ee-9ca8-6b95d06dc7f9" providerId="ADAL" clId="{EEA06CB2-82F2-4ED8-9229-4AD4686F732E}" dt="2022-05-16T15:24:20.133" v="5400" actId="47"/>
          <pc:sldLayoutMkLst>
            <pc:docMk/>
            <pc:sldMasterMk cId="2862754151" sldId="2147483716"/>
            <pc:sldLayoutMk cId="4003196394" sldId="2147483719"/>
          </pc:sldLayoutMkLst>
        </pc:sldLayoutChg>
        <pc:sldLayoutChg chg="del">
          <pc:chgData name="Pirone, Chiara" userId="d9d5b965-323f-43ee-9ca8-6b95d06dc7f9" providerId="ADAL" clId="{EEA06CB2-82F2-4ED8-9229-4AD4686F732E}" dt="2022-05-16T15:24:20.133" v="5400" actId="47"/>
          <pc:sldLayoutMkLst>
            <pc:docMk/>
            <pc:sldMasterMk cId="2862754151" sldId="2147483716"/>
            <pc:sldLayoutMk cId="665855340" sldId="2147483720"/>
          </pc:sldLayoutMkLst>
        </pc:sldLayoutChg>
        <pc:sldLayoutChg chg="del">
          <pc:chgData name="Pirone, Chiara" userId="d9d5b965-323f-43ee-9ca8-6b95d06dc7f9" providerId="ADAL" clId="{EEA06CB2-82F2-4ED8-9229-4AD4686F732E}" dt="2022-05-16T15:24:20.133" v="5400" actId="47"/>
          <pc:sldLayoutMkLst>
            <pc:docMk/>
            <pc:sldMasterMk cId="2862754151" sldId="2147483716"/>
            <pc:sldLayoutMk cId="2825610668" sldId="2147483721"/>
          </pc:sldLayoutMkLst>
        </pc:sldLayoutChg>
        <pc:sldLayoutChg chg="del">
          <pc:chgData name="Pirone, Chiara" userId="d9d5b965-323f-43ee-9ca8-6b95d06dc7f9" providerId="ADAL" clId="{EEA06CB2-82F2-4ED8-9229-4AD4686F732E}" dt="2022-05-16T15:24:20.133" v="5400" actId="47"/>
          <pc:sldLayoutMkLst>
            <pc:docMk/>
            <pc:sldMasterMk cId="2862754151" sldId="2147483716"/>
            <pc:sldLayoutMk cId="859314185" sldId="2147483722"/>
          </pc:sldLayoutMkLst>
        </pc:sldLayoutChg>
        <pc:sldLayoutChg chg="del">
          <pc:chgData name="Pirone, Chiara" userId="d9d5b965-323f-43ee-9ca8-6b95d06dc7f9" providerId="ADAL" clId="{EEA06CB2-82F2-4ED8-9229-4AD4686F732E}" dt="2022-05-16T15:24:20.133" v="5400" actId="47"/>
          <pc:sldLayoutMkLst>
            <pc:docMk/>
            <pc:sldMasterMk cId="2862754151" sldId="2147483716"/>
            <pc:sldLayoutMk cId="503808842" sldId="2147483723"/>
          </pc:sldLayoutMkLst>
        </pc:sldLayoutChg>
        <pc:sldLayoutChg chg="del">
          <pc:chgData name="Pirone, Chiara" userId="d9d5b965-323f-43ee-9ca8-6b95d06dc7f9" providerId="ADAL" clId="{EEA06CB2-82F2-4ED8-9229-4AD4686F732E}" dt="2022-05-16T15:24:20.133" v="5400" actId="47"/>
          <pc:sldLayoutMkLst>
            <pc:docMk/>
            <pc:sldMasterMk cId="2862754151" sldId="2147483716"/>
            <pc:sldLayoutMk cId="2061467089" sldId="2147483724"/>
          </pc:sldLayoutMkLst>
        </pc:sldLayoutChg>
        <pc:sldLayoutChg chg="del">
          <pc:chgData name="Pirone, Chiara" userId="d9d5b965-323f-43ee-9ca8-6b95d06dc7f9" providerId="ADAL" clId="{EEA06CB2-82F2-4ED8-9229-4AD4686F732E}" dt="2022-05-16T15:24:20.133" v="5400" actId="47"/>
          <pc:sldLayoutMkLst>
            <pc:docMk/>
            <pc:sldMasterMk cId="2862754151" sldId="2147483716"/>
            <pc:sldLayoutMk cId="3215368870" sldId="2147483725"/>
          </pc:sldLayoutMkLst>
        </pc:sldLayoutChg>
        <pc:sldLayoutChg chg="del">
          <pc:chgData name="Pirone, Chiara" userId="d9d5b965-323f-43ee-9ca8-6b95d06dc7f9" providerId="ADAL" clId="{EEA06CB2-82F2-4ED8-9229-4AD4686F732E}" dt="2022-05-16T15:24:20.133" v="5400" actId="47"/>
          <pc:sldLayoutMkLst>
            <pc:docMk/>
            <pc:sldMasterMk cId="2862754151" sldId="2147483716"/>
            <pc:sldLayoutMk cId="245049803" sldId="2147483726"/>
          </pc:sldLayoutMkLst>
        </pc:sldLayoutChg>
        <pc:sldLayoutChg chg="del">
          <pc:chgData name="Pirone, Chiara" userId="d9d5b965-323f-43ee-9ca8-6b95d06dc7f9" providerId="ADAL" clId="{EEA06CB2-82F2-4ED8-9229-4AD4686F732E}" dt="2022-05-16T15:24:20.133" v="5400" actId="47"/>
          <pc:sldLayoutMkLst>
            <pc:docMk/>
            <pc:sldMasterMk cId="2862754151" sldId="2147483716"/>
            <pc:sldLayoutMk cId="1299613472" sldId="2147483727"/>
          </pc:sldLayoutMkLst>
        </pc:sldLayoutChg>
        <pc:sldLayoutChg chg="del">
          <pc:chgData name="Pirone, Chiara" userId="d9d5b965-323f-43ee-9ca8-6b95d06dc7f9" providerId="ADAL" clId="{EEA06CB2-82F2-4ED8-9229-4AD4686F732E}" dt="2022-05-16T15:24:20.133" v="5400" actId="47"/>
          <pc:sldLayoutMkLst>
            <pc:docMk/>
            <pc:sldMasterMk cId="2862754151" sldId="2147483716"/>
            <pc:sldLayoutMk cId="817469891" sldId="2147483728"/>
          </pc:sldLayoutMkLst>
        </pc:sldLayoutChg>
        <pc:sldLayoutChg chg="del">
          <pc:chgData name="Pirone, Chiara" userId="d9d5b965-323f-43ee-9ca8-6b95d06dc7f9" providerId="ADAL" clId="{EEA06CB2-82F2-4ED8-9229-4AD4686F732E}" dt="2022-05-16T15:24:20.133" v="5400" actId="47"/>
          <pc:sldLayoutMkLst>
            <pc:docMk/>
            <pc:sldMasterMk cId="2862754151" sldId="2147483716"/>
            <pc:sldLayoutMk cId="1650659859" sldId="2147483729"/>
          </pc:sldLayoutMkLst>
        </pc:sldLayoutChg>
        <pc:sldLayoutChg chg="del">
          <pc:chgData name="Pirone, Chiara" userId="d9d5b965-323f-43ee-9ca8-6b95d06dc7f9" providerId="ADAL" clId="{EEA06CB2-82F2-4ED8-9229-4AD4686F732E}" dt="2022-05-16T15:24:20.133" v="5400" actId="47"/>
          <pc:sldLayoutMkLst>
            <pc:docMk/>
            <pc:sldMasterMk cId="2862754151" sldId="2147483716"/>
            <pc:sldLayoutMk cId="2770985967" sldId="2147483730"/>
          </pc:sldLayoutMkLst>
        </pc:sldLayoutChg>
      </pc:sldMasterChg>
      <pc:sldMasterChg chg="delSp mod modSldLayout">
        <pc:chgData name="Pirone, Chiara" userId="d9d5b965-323f-43ee-9ca8-6b95d06dc7f9" providerId="ADAL" clId="{EEA06CB2-82F2-4ED8-9229-4AD4686F732E}" dt="2022-05-17T10:55:26.831" v="7223" actId="478"/>
        <pc:sldMasterMkLst>
          <pc:docMk/>
          <pc:sldMasterMk cId="2634505075" sldId="2147483731"/>
        </pc:sldMasterMkLst>
        <pc:spChg chg="del">
          <ac:chgData name="Pirone, Chiara" userId="d9d5b965-323f-43ee-9ca8-6b95d06dc7f9" providerId="ADAL" clId="{EEA06CB2-82F2-4ED8-9229-4AD4686F732E}" dt="2022-05-17T10:55:26.831" v="7223" actId="478"/>
          <ac:spMkLst>
            <pc:docMk/>
            <pc:sldMasterMk cId="2634505075" sldId="2147483731"/>
            <ac:spMk id="7" creationId="{CC11CACA-3D43-6842-94A5-90E1FE5ACAA5}"/>
          </ac:spMkLst>
        </pc:spChg>
        <pc:sldLayoutChg chg="delSp mod">
          <pc:chgData name="Pirone, Chiara" userId="d9d5b965-323f-43ee-9ca8-6b95d06dc7f9" providerId="ADAL" clId="{EEA06CB2-82F2-4ED8-9229-4AD4686F732E}" dt="2022-05-13T09:23:19.907" v="1324" actId="478"/>
          <pc:sldLayoutMkLst>
            <pc:docMk/>
            <pc:sldMasterMk cId="2634505075" sldId="2147483731"/>
            <pc:sldLayoutMk cId="2554570038" sldId="2147483732"/>
          </pc:sldLayoutMkLst>
          <pc:spChg chg="del">
            <ac:chgData name="Pirone, Chiara" userId="d9d5b965-323f-43ee-9ca8-6b95d06dc7f9" providerId="ADAL" clId="{EEA06CB2-82F2-4ED8-9229-4AD4686F732E}" dt="2022-05-13T09:23:19.907" v="1324" actId="478"/>
            <ac:spMkLst>
              <pc:docMk/>
              <pc:sldMasterMk cId="2634505075" sldId="2147483731"/>
              <pc:sldLayoutMk cId="2554570038" sldId="2147483732"/>
              <ac:spMk id="13" creationId="{04D5A9D0-7D27-6043-94AF-A609E50211B4}"/>
            </ac:spMkLst>
          </pc:spChg>
        </pc:sldLayoutChg>
      </pc:sldMasterChg>
      <pc:sldMasterChg chg="del delSldLayout">
        <pc:chgData name="Pirone, Chiara" userId="d9d5b965-323f-43ee-9ca8-6b95d06dc7f9" providerId="ADAL" clId="{EEA06CB2-82F2-4ED8-9229-4AD4686F732E}" dt="2022-05-17T08:09:27.529" v="5407" actId="47"/>
        <pc:sldMasterMkLst>
          <pc:docMk/>
          <pc:sldMasterMk cId="3115876465" sldId="2147483738"/>
        </pc:sldMasterMkLst>
        <pc:sldLayoutChg chg="del">
          <pc:chgData name="Pirone, Chiara" userId="d9d5b965-323f-43ee-9ca8-6b95d06dc7f9" providerId="ADAL" clId="{EEA06CB2-82F2-4ED8-9229-4AD4686F732E}" dt="2022-05-17T08:09:27.529" v="5407" actId="47"/>
          <pc:sldLayoutMkLst>
            <pc:docMk/>
            <pc:sldMasterMk cId="3115876465" sldId="2147483738"/>
            <pc:sldLayoutMk cId="2084296361" sldId="2147483739"/>
          </pc:sldLayoutMkLst>
        </pc:sldLayoutChg>
        <pc:sldLayoutChg chg="del">
          <pc:chgData name="Pirone, Chiara" userId="d9d5b965-323f-43ee-9ca8-6b95d06dc7f9" providerId="ADAL" clId="{EEA06CB2-82F2-4ED8-9229-4AD4686F732E}" dt="2022-05-17T08:09:27.529" v="5407" actId="47"/>
          <pc:sldLayoutMkLst>
            <pc:docMk/>
            <pc:sldMasterMk cId="3115876465" sldId="2147483738"/>
            <pc:sldLayoutMk cId="2472856335" sldId="2147483740"/>
          </pc:sldLayoutMkLst>
        </pc:sldLayoutChg>
        <pc:sldLayoutChg chg="del">
          <pc:chgData name="Pirone, Chiara" userId="d9d5b965-323f-43ee-9ca8-6b95d06dc7f9" providerId="ADAL" clId="{EEA06CB2-82F2-4ED8-9229-4AD4686F732E}" dt="2022-05-17T08:09:27.529" v="5407" actId="47"/>
          <pc:sldLayoutMkLst>
            <pc:docMk/>
            <pc:sldMasterMk cId="3115876465" sldId="2147483738"/>
            <pc:sldLayoutMk cId="2097378917" sldId="2147483741"/>
          </pc:sldLayoutMkLst>
        </pc:sldLayoutChg>
        <pc:sldLayoutChg chg="del">
          <pc:chgData name="Pirone, Chiara" userId="d9d5b965-323f-43ee-9ca8-6b95d06dc7f9" providerId="ADAL" clId="{EEA06CB2-82F2-4ED8-9229-4AD4686F732E}" dt="2022-05-17T08:09:27.529" v="5407" actId="47"/>
          <pc:sldLayoutMkLst>
            <pc:docMk/>
            <pc:sldMasterMk cId="3115876465" sldId="2147483738"/>
            <pc:sldLayoutMk cId="3321860645" sldId="2147483742"/>
          </pc:sldLayoutMkLst>
        </pc:sldLayoutChg>
        <pc:sldLayoutChg chg="del">
          <pc:chgData name="Pirone, Chiara" userId="d9d5b965-323f-43ee-9ca8-6b95d06dc7f9" providerId="ADAL" clId="{EEA06CB2-82F2-4ED8-9229-4AD4686F732E}" dt="2022-05-17T08:09:27.529" v="5407" actId="47"/>
          <pc:sldLayoutMkLst>
            <pc:docMk/>
            <pc:sldMasterMk cId="3115876465" sldId="2147483738"/>
            <pc:sldLayoutMk cId="3523778743" sldId="2147483743"/>
          </pc:sldLayoutMkLst>
        </pc:sldLayoutChg>
        <pc:sldLayoutChg chg="del">
          <pc:chgData name="Pirone, Chiara" userId="d9d5b965-323f-43ee-9ca8-6b95d06dc7f9" providerId="ADAL" clId="{EEA06CB2-82F2-4ED8-9229-4AD4686F732E}" dt="2022-05-17T08:09:27.529" v="5407" actId="47"/>
          <pc:sldLayoutMkLst>
            <pc:docMk/>
            <pc:sldMasterMk cId="3115876465" sldId="2147483738"/>
            <pc:sldLayoutMk cId="1644512928" sldId="2147483744"/>
          </pc:sldLayoutMkLst>
        </pc:sldLayoutChg>
        <pc:sldLayoutChg chg="del">
          <pc:chgData name="Pirone, Chiara" userId="d9d5b965-323f-43ee-9ca8-6b95d06dc7f9" providerId="ADAL" clId="{EEA06CB2-82F2-4ED8-9229-4AD4686F732E}" dt="2022-05-17T08:09:27.529" v="5407" actId="47"/>
          <pc:sldLayoutMkLst>
            <pc:docMk/>
            <pc:sldMasterMk cId="3115876465" sldId="2147483738"/>
            <pc:sldLayoutMk cId="3738571108" sldId="2147483745"/>
          </pc:sldLayoutMkLst>
        </pc:sldLayoutChg>
        <pc:sldLayoutChg chg="del">
          <pc:chgData name="Pirone, Chiara" userId="d9d5b965-323f-43ee-9ca8-6b95d06dc7f9" providerId="ADAL" clId="{EEA06CB2-82F2-4ED8-9229-4AD4686F732E}" dt="2022-05-17T08:09:27.529" v="5407" actId="47"/>
          <pc:sldLayoutMkLst>
            <pc:docMk/>
            <pc:sldMasterMk cId="3115876465" sldId="2147483738"/>
            <pc:sldLayoutMk cId="3310401859" sldId="2147483746"/>
          </pc:sldLayoutMkLst>
        </pc:sldLayoutChg>
        <pc:sldLayoutChg chg="del">
          <pc:chgData name="Pirone, Chiara" userId="d9d5b965-323f-43ee-9ca8-6b95d06dc7f9" providerId="ADAL" clId="{EEA06CB2-82F2-4ED8-9229-4AD4686F732E}" dt="2022-05-17T08:09:27.529" v="5407" actId="47"/>
          <pc:sldLayoutMkLst>
            <pc:docMk/>
            <pc:sldMasterMk cId="3115876465" sldId="2147483738"/>
            <pc:sldLayoutMk cId="3101464237" sldId="2147483747"/>
          </pc:sldLayoutMkLst>
        </pc:sldLayoutChg>
        <pc:sldLayoutChg chg="del">
          <pc:chgData name="Pirone, Chiara" userId="d9d5b965-323f-43ee-9ca8-6b95d06dc7f9" providerId="ADAL" clId="{EEA06CB2-82F2-4ED8-9229-4AD4686F732E}" dt="2022-05-17T08:09:27.529" v="5407" actId="47"/>
          <pc:sldLayoutMkLst>
            <pc:docMk/>
            <pc:sldMasterMk cId="3115876465" sldId="2147483738"/>
            <pc:sldLayoutMk cId="965715518" sldId="2147483748"/>
          </pc:sldLayoutMkLst>
        </pc:sldLayoutChg>
        <pc:sldLayoutChg chg="del">
          <pc:chgData name="Pirone, Chiara" userId="d9d5b965-323f-43ee-9ca8-6b95d06dc7f9" providerId="ADAL" clId="{EEA06CB2-82F2-4ED8-9229-4AD4686F732E}" dt="2022-05-17T08:09:27.529" v="5407" actId="47"/>
          <pc:sldLayoutMkLst>
            <pc:docMk/>
            <pc:sldMasterMk cId="3115876465" sldId="2147483738"/>
            <pc:sldLayoutMk cId="2185881721" sldId="2147483749"/>
          </pc:sldLayoutMkLst>
        </pc:sldLayoutChg>
      </pc:sldMasterChg>
      <pc:sldMasterChg chg="delSp mod">
        <pc:chgData name="Pirone, Chiara" userId="d9d5b965-323f-43ee-9ca8-6b95d06dc7f9" providerId="ADAL" clId="{EEA06CB2-82F2-4ED8-9229-4AD4686F732E}" dt="2022-05-17T14:38:52.543" v="9761" actId="478"/>
        <pc:sldMasterMkLst>
          <pc:docMk/>
          <pc:sldMasterMk cId="2052921621" sldId="2147483751"/>
        </pc:sldMasterMkLst>
        <pc:spChg chg="del">
          <ac:chgData name="Pirone, Chiara" userId="d9d5b965-323f-43ee-9ca8-6b95d06dc7f9" providerId="ADAL" clId="{EEA06CB2-82F2-4ED8-9229-4AD4686F732E}" dt="2022-05-17T14:38:52.543" v="9761" actId="478"/>
          <ac:spMkLst>
            <pc:docMk/>
            <pc:sldMasterMk cId="2052921621" sldId="2147483751"/>
            <ac:spMk id="7" creationId="{CC11CACA-3D43-6842-94A5-90E1FE5ACAA5}"/>
          </ac:spMkLst>
        </pc:spChg>
      </pc:sldMasterChg>
    </pc:docChg>
  </pc:docChgLst>
  <pc:docChgLst>
    <pc:chgData name="Maria Francesca Franzese" userId="09d793c0-eb4b-4a84-ab24-f9647825f6c0" providerId="ADAL" clId="{2B03C730-FAD6-4C55-BA5C-D4390CA6667F}"/>
    <pc:docChg chg="modSld">
      <pc:chgData name="Maria Francesca Franzese" userId="09d793c0-eb4b-4a84-ab24-f9647825f6c0" providerId="ADAL" clId="{2B03C730-FAD6-4C55-BA5C-D4390CA6667F}" dt="2022-05-17T18:02:52.872" v="4" actId="20577"/>
      <pc:docMkLst>
        <pc:docMk/>
      </pc:docMkLst>
      <pc:sldChg chg="modSp mod">
        <pc:chgData name="Maria Francesca Franzese" userId="09d793c0-eb4b-4a84-ab24-f9647825f6c0" providerId="ADAL" clId="{2B03C730-FAD6-4C55-BA5C-D4390CA6667F}" dt="2022-05-17T18:02:52.872" v="4" actId="20577"/>
        <pc:sldMkLst>
          <pc:docMk/>
          <pc:sldMk cId="1041639984" sldId="2147375246"/>
        </pc:sldMkLst>
        <pc:spChg chg="mod">
          <ac:chgData name="Maria Francesca Franzese" userId="09d793c0-eb4b-4a84-ab24-f9647825f6c0" providerId="ADAL" clId="{2B03C730-FAD6-4C55-BA5C-D4390CA6667F}" dt="2022-05-17T18:02:52.872" v="4" actId="20577"/>
          <ac:spMkLst>
            <pc:docMk/>
            <pc:sldMk cId="1041639984" sldId="2147375246"/>
            <ac:spMk id="5" creationId="{961B42C2-5748-4FA9-A1F4-6E14EC4C789D}"/>
          </ac:spMkLst>
        </pc:spChg>
      </pc:sldChg>
    </pc:docChg>
  </pc:docChgLst>
  <pc:docChgLst>
    <pc:chgData name="Pirone, Chiara" userId="d9d5b965-323f-43ee-9ca8-6b95d06dc7f9" providerId="ADAL" clId="{F95D93EE-FAB6-4FB5-8BEC-D281DC6DC390}"/>
    <pc:docChg chg="undo custSel addSld delSld modSld sldOrd delSection modSection">
      <pc:chgData name="Pirone, Chiara" userId="d9d5b965-323f-43ee-9ca8-6b95d06dc7f9" providerId="ADAL" clId="{F95D93EE-FAB6-4FB5-8BEC-D281DC6DC390}" dt="2022-05-12T19:34:40.363" v="622" actId="1076"/>
      <pc:docMkLst>
        <pc:docMk/>
      </pc:docMkLst>
      <pc:sldChg chg="del">
        <pc:chgData name="Pirone, Chiara" userId="d9d5b965-323f-43ee-9ca8-6b95d06dc7f9" providerId="ADAL" clId="{F95D93EE-FAB6-4FB5-8BEC-D281DC6DC390}" dt="2022-05-12T19:11:42.888" v="423" actId="47"/>
        <pc:sldMkLst>
          <pc:docMk/>
          <pc:sldMk cId="2112840080" sldId="406"/>
        </pc:sldMkLst>
      </pc:sldChg>
      <pc:sldChg chg="del">
        <pc:chgData name="Pirone, Chiara" userId="d9d5b965-323f-43ee-9ca8-6b95d06dc7f9" providerId="ADAL" clId="{F95D93EE-FAB6-4FB5-8BEC-D281DC6DC390}" dt="2022-05-12T19:11:42.888" v="423" actId="47"/>
        <pc:sldMkLst>
          <pc:docMk/>
          <pc:sldMk cId="2843025103" sldId="413"/>
        </pc:sldMkLst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2205983521" sldId="414"/>
        </pc:sldMkLst>
      </pc:sldChg>
      <pc:sldChg chg="addSp delSp modSp add del mod">
        <pc:chgData name="Pirone, Chiara" userId="d9d5b965-323f-43ee-9ca8-6b95d06dc7f9" providerId="ADAL" clId="{F95D93EE-FAB6-4FB5-8BEC-D281DC6DC390}" dt="2022-05-12T19:08:53.863" v="189" actId="47"/>
        <pc:sldMkLst>
          <pc:docMk/>
          <pc:sldMk cId="3823138967" sldId="3609"/>
        </pc:sldMkLst>
        <pc:spChg chg="del">
          <ac:chgData name="Pirone, Chiara" userId="d9d5b965-323f-43ee-9ca8-6b95d06dc7f9" providerId="ADAL" clId="{F95D93EE-FAB6-4FB5-8BEC-D281DC6DC390}" dt="2022-05-12T19:08:24.996" v="181" actId="478"/>
          <ac:spMkLst>
            <pc:docMk/>
            <pc:sldMk cId="3823138967" sldId="3609"/>
            <ac:spMk id="7" creationId="{A17FE46B-73DC-41F7-881C-0122ACDEA848}"/>
          </ac:spMkLst>
        </pc:spChg>
        <pc:spChg chg="del">
          <ac:chgData name="Pirone, Chiara" userId="d9d5b965-323f-43ee-9ca8-6b95d06dc7f9" providerId="ADAL" clId="{F95D93EE-FAB6-4FB5-8BEC-D281DC6DC390}" dt="2022-05-12T19:08:24.996" v="181" actId="478"/>
          <ac:spMkLst>
            <pc:docMk/>
            <pc:sldMk cId="3823138967" sldId="3609"/>
            <ac:spMk id="9" creationId="{408EA84D-74F1-47E2-8238-D42905E9B6D7}"/>
          </ac:spMkLst>
        </pc:spChg>
        <pc:spChg chg="del">
          <ac:chgData name="Pirone, Chiara" userId="d9d5b965-323f-43ee-9ca8-6b95d06dc7f9" providerId="ADAL" clId="{F95D93EE-FAB6-4FB5-8BEC-D281DC6DC390}" dt="2022-05-12T19:08:24.996" v="181" actId="478"/>
          <ac:spMkLst>
            <pc:docMk/>
            <pc:sldMk cId="3823138967" sldId="3609"/>
            <ac:spMk id="10" creationId="{B1AB7EA4-F5CD-4610-A0E1-56874589B6D4}"/>
          </ac:spMkLst>
        </pc:spChg>
        <pc:spChg chg="del">
          <ac:chgData name="Pirone, Chiara" userId="d9d5b965-323f-43ee-9ca8-6b95d06dc7f9" providerId="ADAL" clId="{F95D93EE-FAB6-4FB5-8BEC-D281DC6DC390}" dt="2022-05-12T19:08:24.996" v="181" actId="478"/>
          <ac:spMkLst>
            <pc:docMk/>
            <pc:sldMk cId="3823138967" sldId="3609"/>
            <ac:spMk id="11" creationId="{277A1F6F-325F-438F-B8D4-4EDFFCCBF181}"/>
          </ac:spMkLst>
        </pc:spChg>
        <pc:spChg chg="del">
          <ac:chgData name="Pirone, Chiara" userId="d9d5b965-323f-43ee-9ca8-6b95d06dc7f9" providerId="ADAL" clId="{F95D93EE-FAB6-4FB5-8BEC-D281DC6DC390}" dt="2022-05-12T19:08:24.996" v="181" actId="478"/>
          <ac:spMkLst>
            <pc:docMk/>
            <pc:sldMk cId="3823138967" sldId="3609"/>
            <ac:spMk id="12" creationId="{20F21A5B-8E94-4875-9D84-FF96F6AB0F61}"/>
          </ac:spMkLst>
        </pc:spChg>
        <pc:spChg chg="del">
          <ac:chgData name="Pirone, Chiara" userId="d9d5b965-323f-43ee-9ca8-6b95d06dc7f9" providerId="ADAL" clId="{F95D93EE-FAB6-4FB5-8BEC-D281DC6DC390}" dt="2022-05-12T19:08:24.996" v="181" actId="478"/>
          <ac:spMkLst>
            <pc:docMk/>
            <pc:sldMk cId="3823138967" sldId="3609"/>
            <ac:spMk id="13" creationId="{A76245BA-0CF3-4844-B287-237F5F3B70C7}"/>
          </ac:spMkLst>
        </pc:spChg>
        <pc:spChg chg="del">
          <ac:chgData name="Pirone, Chiara" userId="d9d5b965-323f-43ee-9ca8-6b95d06dc7f9" providerId="ADAL" clId="{F95D93EE-FAB6-4FB5-8BEC-D281DC6DC390}" dt="2022-05-12T19:08:24.996" v="181" actId="478"/>
          <ac:spMkLst>
            <pc:docMk/>
            <pc:sldMk cId="3823138967" sldId="3609"/>
            <ac:spMk id="14" creationId="{C4BA2F33-B965-4C5F-A87D-EF325A5A1337}"/>
          </ac:spMkLst>
        </pc:spChg>
        <pc:spChg chg="del">
          <ac:chgData name="Pirone, Chiara" userId="d9d5b965-323f-43ee-9ca8-6b95d06dc7f9" providerId="ADAL" clId="{F95D93EE-FAB6-4FB5-8BEC-D281DC6DC390}" dt="2022-05-12T19:08:24.996" v="181" actId="478"/>
          <ac:spMkLst>
            <pc:docMk/>
            <pc:sldMk cId="3823138967" sldId="3609"/>
            <ac:spMk id="21" creationId="{C6B11796-22BD-42DC-9623-BEEB9D63E445}"/>
          </ac:spMkLst>
        </pc:spChg>
        <pc:spChg chg="del">
          <ac:chgData name="Pirone, Chiara" userId="d9d5b965-323f-43ee-9ca8-6b95d06dc7f9" providerId="ADAL" clId="{F95D93EE-FAB6-4FB5-8BEC-D281DC6DC390}" dt="2022-05-12T19:08:24.996" v="181" actId="478"/>
          <ac:spMkLst>
            <pc:docMk/>
            <pc:sldMk cId="3823138967" sldId="3609"/>
            <ac:spMk id="22" creationId="{0DB1BAAA-C4E8-4A21-9E7B-B8C81FE1135B}"/>
          </ac:spMkLst>
        </pc:spChg>
        <pc:spChg chg="del">
          <ac:chgData name="Pirone, Chiara" userId="d9d5b965-323f-43ee-9ca8-6b95d06dc7f9" providerId="ADAL" clId="{F95D93EE-FAB6-4FB5-8BEC-D281DC6DC390}" dt="2022-05-12T19:08:24.996" v="181" actId="478"/>
          <ac:spMkLst>
            <pc:docMk/>
            <pc:sldMk cId="3823138967" sldId="3609"/>
            <ac:spMk id="23" creationId="{3653D211-A8CF-40EC-B3C7-8E750F86C36A}"/>
          </ac:spMkLst>
        </pc:spChg>
        <pc:spChg chg="del">
          <ac:chgData name="Pirone, Chiara" userId="d9d5b965-323f-43ee-9ca8-6b95d06dc7f9" providerId="ADAL" clId="{F95D93EE-FAB6-4FB5-8BEC-D281DC6DC390}" dt="2022-05-12T19:08:24.996" v="181" actId="478"/>
          <ac:spMkLst>
            <pc:docMk/>
            <pc:sldMk cId="3823138967" sldId="3609"/>
            <ac:spMk id="24" creationId="{D2C03F20-A179-404F-A61F-7BD7724C045C}"/>
          </ac:spMkLst>
        </pc:spChg>
        <pc:spChg chg="del">
          <ac:chgData name="Pirone, Chiara" userId="d9d5b965-323f-43ee-9ca8-6b95d06dc7f9" providerId="ADAL" clId="{F95D93EE-FAB6-4FB5-8BEC-D281DC6DC390}" dt="2022-05-12T19:08:24.996" v="181" actId="478"/>
          <ac:spMkLst>
            <pc:docMk/>
            <pc:sldMk cId="3823138967" sldId="3609"/>
            <ac:spMk id="25" creationId="{6FE6408C-7184-40BC-8106-26A4738DE212}"/>
          </ac:spMkLst>
        </pc:spChg>
        <pc:spChg chg="del">
          <ac:chgData name="Pirone, Chiara" userId="d9d5b965-323f-43ee-9ca8-6b95d06dc7f9" providerId="ADAL" clId="{F95D93EE-FAB6-4FB5-8BEC-D281DC6DC390}" dt="2022-05-12T19:08:24.996" v="181" actId="478"/>
          <ac:spMkLst>
            <pc:docMk/>
            <pc:sldMk cId="3823138967" sldId="3609"/>
            <ac:spMk id="26" creationId="{00D8F05F-19FC-4956-B8DD-C3790D296D61}"/>
          </ac:spMkLst>
        </pc:spChg>
        <pc:spChg chg="del">
          <ac:chgData name="Pirone, Chiara" userId="d9d5b965-323f-43ee-9ca8-6b95d06dc7f9" providerId="ADAL" clId="{F95D93EE-FAB6-4FB5-8BEC-D281DC6DC390}" dt="2022-05-12T19:08:24.996" v="181" actId="478"/>
          <ac:spMkLst>
            <pc:docMk/>
            <pc:sldMk cId="3823138967" sldId="3609"/>
            <ac:spMk id="27" creationId="{0F7887E4-E8C0-4EAB-B951-56F6DA3A6B84}"/>
          </ac:spMkLst>
        </pc:spChg>
        <pc:spChg chg="del">
          <ac:chgData name="Pirone, Chiara" userId="d9d5b965-323f-43ee-9ca8-6b95d06dc7f9" providerId="ADAL" clId="{F95D93EE-FAB6-4FB5-8BEC-D281DC6DC390}" dt="2022-05-12T19:08:15.026" v="180" actId="478"/>
          <ac:spMkLst>
            <pc:docMk/>
            <pc:sldMk cId="3823138967" sldId="3609"/>
            <ac:spMk id="28" creationId="{88615E11-714C-49E5-AC82-391A2A54C3D6}"/>
          </ac:spMkLst>
        </pc:spChg>
        <pc:spChg chg="add del mod">
          <ac:chgData name="Pirone, Chiara" userId="d9d5b965-323f-43ee-9ca8-6b95d06dc7f9" providerId="ADAL" clId="{F95D93EE-FAB6-4FB5-8BEC-D281DC6DC390}" dt="2022-05-12T19:08:34.130" v="185"/>
          <ac:spMkLst>
            <pc:docMk/>
            <pc:sldMk cId="3823138967" sldId="3609"/>
            <ac:spMk id="29" creationId="{401A32AF-94D1-4740-9F4B-304F50765F09}"/>
          </ac:spMkLst>
        </pc:spChg>
        <pc:spChg chg="add del mod">
          <ac:chgData name="Pirone, Chiara" userId="d9d5b965-323f-43ee-9ca8-6b95d06dc7f9" providerId="ADAL" clId="{F95D93EE-FAB6-4FB5-8BEC-D281DC6DC390}" dt="2022-05-12T19:08:34.130" v="185"/>
          <ac:spMkLst>
            <pc:docMk/>
            <pc:sldMk cId="3823138967" sldId="3609"/>
            <ac:spMk id="30" creationId="{8EFBA370-A351-49D4-9BF5-B902D187C649}"/>
          </ac:spMkLst>
        </pc:spChg>
        <pc:spChg chg="del">
          <ac:chgData name="Pirone, Chiara" userId="d9d5b965-323f-43ee-9ca8-6b95d06dc7f9" providerId="ADAL" clId="{F95D93EE-FAB6-4FB5-8BEC-D281DC6DC390}" dt="2022-05-12T19:08:24.996" v="181" actId="478"/>
          <ac:spMkLst>
            <pc:docMk/>
            <pc:sldMk cId="3823138967" sldId="3609"/>
            <ac:spMk id="254" creationId="{E9B58889-8326-41D4-88C5-9C4E91FC9A5E}"/>
          </ac:spMkLst>
        </pc:spChg>
        <pc:graphicFrameChg chg="del">
          <ac:chgData name="Pirone, Chiara" userId="d9d5b965-323f-43ee-9ca8-6b95d06dc7f9" providerId="ADAL" clId="{F95D93EE-FAB6-4FB5-8BEC-D281DC6DC390}" dt="2022-05-12T19:08:24.996" v="181" actId="478"/>
          <ac:graphicFrameMkLst>
            <pc:docMk/>
            <pc:sldMk cId="3823138967" sldId="3609"/>
            <ac:graphicFrameMk id="6" creationId="{25228211-BCCE-4C7B-A044-D1406DE848C1}"/>
          </ac:graphicFrameMkLst>
        </pc:graphicFrameChg>
        <pc:graphicFrameChg chg="del">
          <ac:chgData name="Pirone, Chiara" userId="d9d5b965-323f-43ee-9ca8-6b95d06dc7f9" providerId="ADAL" clId="{F95D93EE-FAB6-4FB5-8BEC-D281DC6DC390}" dt="2022-05-12T19:08:24.996" v="181" actId="478"/>
          <ac:graphicFrameMkLst>
            <pc:docMk/>
            <pc:sldMk cId="3823138967" sldId="3609"/>
            <ac:graphicFrameMk id="8" creationId="{B304E59A-FFFB-4B26-A98E-CA907D361AFB}"/>
          </ac:graphicFrameMkLst>
        </pc:graphicFrameChg>
        <pc:picChg chg="add del">
          <ac:chgData name="Pirone, Chiara" userId="d9d5b965-323f-43ee-9ca8-6b95d06dc7f9" providerId="ADAL" clId="{F95D93EE-FAB6-4FB5-8BEC-D281DC6DC390}" dt="2022-05-12T19:08:37.345" v="187" actId="478"/>
          <ac:picMkLst>
            <pc:docMk/>
            <pc:sldMk cId="3823138967" sldId="3609"/>
            <ac:picMk id="2" creationId="{C607F313-BD50-4739-ACC4-437D90246BB3}"/>
          </ac:picMkLst>
        </pc:picChg>
        <pc:cxnChg chg="del mod">
          <ac:chgData name="Pirone, Chiara" userId="d9d5b965-323f-43ee-9ca8-6b95d06dc7f9" providerId="ADAL" clId="{F95D93EE-FAB6-4FB5-8BEC-D281DC6DC390}" dt="2022-05-12T19:08:24.996" v="181" actId="478"/>
          <ac:cxnSpMkLst>
            <pc:docMk/>
            <pc:sldMk cId="3823138967" sldId="3609"/>
            <ac:cxnSpMk id="15" creationId="{3BE91BA7-647B-48DC-9DE1-9DB27DCD18C2}"/>
          </ac:cxnSpMkLst>
        </pc:cxnChg>
        <pc:cxnChg chg="del mod">
          <ac:chgData name="Pirone, Chiara" userId="d9d5b965-323f-43ee-9ca8-6b95d06dc7f9" providerId="ADAL" clId="{F95D93EE-FAB6-4FB5-8BEC-D281DC6DC390}" dt="2022-05-12T19:08:24.996" v="181" actId="478"/>
          <ac:cxnSpMkLst>
            <pc:docMk/>
            <pc:sldMk cId="3823138967" sldId="3609"/>
            <ac:cxnSpMk id="16" creationId="{311C29C7-6C7C-4C4A-94CB-0F2CB8EB2FCD}"/>
          </ac:cxnSpMkLst>
        </pc:cxnChg>
        <pc:cxnChg chg="del mod">
          <ac:chgData name="Pirone, Chiara" userId="d9d5b965-323f-43ee-9ca8-6b95d06dc7f9" providerId="ADAL" clId="{F95D93EE-FAB6-4FB5-8BEC-D281DC6DC390}" dt="2022-05-12T19:08:24.996" v="181" actId="478"/>
          <ac:cxnSpMkLst>
            <pc:docMk/>
            <pc:sldMk cId="3823138967" sldId="3609"/>
            <ac:cxnSpMk id="17" creationId="{5B598C69-F3AF-40B7-84F6-8C6DA81DEE4A}"/>
          </ac:cxnSpMkLst>
        </pc:cxnChg>
        <pc:cxnChg chg="del mod">
          <ac:chgData name="Pirone, Chiara" userId="d9d5b965-323f-43ee-9ca8-6b95d06dc7f9" providerId="ADAL" clId="{F95D93EE-FAB6-4FB5-8BEC-D281DC6DC390}" dt="2022-05-12T19:08:24.996" v="181" actId="478"/>
          <ac:cxnSpMkLst>
            <pc:docMk/>
            <pc:sldMk cId="3823138967" sldId="3609"/>
            <ac:cxnSpMk id="18" creationId="{65F76E3D-E796-46A4-A589-76DCCBD0872F}"/>
          </ac:cxnSpMkLst>
        </pc:cxnChg>
        <pc:cxnChg chg="del mod">
          <ac:chgData name="Pirone, Chiara" userId="d9d5b965-323f-43ee-9ca8-6b95d06dc7f9" providerId="ADAL" clId="{F95D93EE-FAB6-4FB5-8BEC-D281DC6DC390}" dt="2022-05-12T19:08:24.996" v="181" actId="478"/>
          <ac:cxnSpMkLst>
            <pc:docMk/>
            <pc:sldMk cId="3823138967" sldId="3609"/>
            <ac:cxnSpMk id="19" creationId="{61D28AF3-84D6-4E68-8632-A53568DB8B7D}"/>
          </ac:cxnSpMkLst>
        </pc:cxnChg>
        <pc:cxnChg chg="del mod">
          <ac:chgData name="Pirone, Chiara" userId="d9d5b965-323f-43ee-9ca8-6b95d06dc7f9" providerId="ADAL" clId="{F95D93EE-FAB6-4FB5-8BEC-D281DC6DC390}" dt="2022-05-12T19:08:24.996" v="181" actId="478"/>
          <ac:cxnSpMkLst>
            <pc:docMk/>
            <pc:sldMk cId="3823138967" sldId="3609"/>
            <ac:cxnSpMk id="20" creationId="{8115ECE5-D292-4E47-9524-95379E94E71E}"/>
          </ac:cxnSpMkLst>
        </pc:cxnChg>
      </pc:sldChg>
      <pc:sldChg chg="modSp add del mod">
        <pc:chgData name="Pirone, Chiara" userId="d9d5b965-323f-43ee-9ca8-6b95d06dc7f9" providerId="ADAL" clId="{F95D93EE-FAB6-4FB5-8BEC-D281DC6DC390}" dt="2022-05-12T19:31:08.726" v="488" actId="20577"/>
        <pc:sldMkLst>
          <pc:docMk/>
          <pc:sldMk cId="670692755" sldId="3611"/>
        </pc:sldMkLst>
        <pc:spChg chg="mod">
          <ac:chgData name="Pirone, Chiara" userId="d9d5b965-323f-43ee-9ca8-6b95d06dc7f9" providerId="ADAL" clId="{F95D93EE-FAB6-4FB5-8BEC-D281DC6DC390}" dt="2022-05-12T19:31:08.726" v="488" actId="20577"/>
          <ac:spMkLst>
            <pc:docMk/>
            <pc:sldMk cId="670692755" sldId="3611"/>
            <ac:spMk id="32" creationId="{3B0B8CA6-2742-47B8-98D1-5C86620CA528}"/>
          </ac:spMkLst>
        </pc:spChg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774239611" sldId="838841237"/>
        </pc:sldMkLst>
      </pc:sldChg>
      <pc:sldChg chg="del">
        <pc:chgData name="Pirone, Chiara" userId="d9d5b965-323f-43ee-9ca8-6b95d06dc7f9" providerId="ADAL" clId="{F95D93EE-FAB6-4FB5-8BEC-D281DC6DC390}" dt="2022-05-12T19:11:42.888" v="423" actId="47"/>
        <pc:sldMkLst>
          <pc:docMk/>
          <pc:sldMk cId="1995630090" sldId="838841263"/>
        </pc:sldMkLst>
      </pc:sldChg>
      <pc:sldChg chg="del">
        <pc:chgData name="Pirone, Chiara" userId="d9d5b965-323f-43ee-9ca8-6b95d06dc7f9" providerId="ADAL" clId="{F95D93EE-FAB6-4FB5-8BEC-D281DC6DC390}" dt="2022-05-12T19:11:42.888" v="423" actId="47"/>
        <pc:sldMkLst>
          <pc:docMk/>
          <pc:sldMk cId="299776690" sldId="838841264"/>
        </pc:sldMkLst>
      </pc:sldChg>
      <pc:sldChg chg="del">
        <pc:chgData name="Pirone, Chiara" userId="d9d5b965-323f-43ee-9ca8-6b95d06dc7f9" providerId="ADAL" clId="{F95D93EE-FAB6-4FB5-8BEC-D281DC6DC390}" dt="2022-05-12T19:11:42.888" v="423" actId="47"/>
        <pc:sldMkLst>
          <pc:docMk/>
          <pc:sldMk cId="2304550555" sldId="838841265"/>
        </pc:sldMkLst>
      </pc:sldChg>
      <pc:sldChg chg="del">
        <pc:chgData name="Pirone, Chiara" userId="d9d5b965-323f-43ee-9ca8-6b95d06dc7f9" providerId="ADAL" clId="{F95D93EE-FAB6-4FB5-8BEC-D281DC6DC390}" dt="2022-05-12T19:11:42.888" v="423" actId="47"/>
        <pc:sldMkLst>
          <pc:docMk/>
          <pc:sldMk cId="307185125" sldId="838841267"/>
        </pc:sldMkLst>
      </pc:sldChg>
      <pc:sldChg chg="del">
        <pc:chgData name="Pirone, Chiara" userId="d9d5b965-323f-43ee-9ca8-6b95d06dc7f9" providerId="ADAL" clId="{F95D93EE-FAB6-4FB5-8BEC-D281DC6DC390}" dt="2022-05-12T19:11:42.888" v="423" actId="47"/>
        <pc:sldMkLst>
          <pc:docMk/>
          <pc:sldMk cId="355307001" sldId="838841268"/>
        </pc:sldMkLst>
      </pc:sldChg>
      <pc:sldChg chg="del">
        <pc:chgData name="Pirone, Chiara" userId="d9d5b965-323f-43ee-9ca8-6b95d06dc7f9" providerId="ADAL" clId="{F95D93EE-FAB6-4FB5-8BEC-D281DC6DC390}" dt="2022-05-12T19:11:42.888" v="423" actId="47"/>
        <pc:sldMkLst>
          <pc:docMk/>
          <pc:sldMk cId="528259477" sldId="838841269"/>
        </pc:sldMkLst>
      </pc:sldChg>
      <pc:sldChg chg="del">
        <pc:chgData name="Pirone, Chiara" userId="d9d5b965-323f-43ee-9ca8-6b95d06dc7f9" providerId="ADAL" clId="{F95D93EE-FAB6-4FB5-8BEC-D281DC6DC390}" dt="2022-05-12T19:11:42.888" v="423" actId="47"/>
        <pc:sldMkLst>
          <pc:docMk/>
          <pc:sldMk cId="4086425071" sldId="838841284"/>
        </pc:sldMkLst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334465029" sldId="2146848071"/>
        </pc:sldMkLst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1935140267" sldId="2146848072"/>
        </pc:sldMkLst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175107322" sldId="2146848077"/>
        </pc:sldMkLst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3330215652" sldId="2146848080"/>
        </pc:sldMkLst>
      </pc:sldChg>
      <pc:sldChg chg="del">
        <pc:chgData name="Pirone, Chiara" userId="d9d5b965-323f-43ee-9ca8-6b95d06dc7f9" providerId="ADAL" clId="{F95D93EE-FAB6-4FB5-8BEC-D281DC6DC390}" dt="2022-05-12T18:58:22.730" v="1" actId="47"/>
        <pc:sldMkLst>
          <pc:docMk/>
          <pc:sldMk cId="2009457684" sldId="2146848130"/>
        </pc:sldMkLst>
      </pc:sldChg>
      <pc:sldChg chg="del">
        <pc:chgData name="Pirone, Chiara" userId="d9d5b965-323f-43ee-9ca8-6b95d06dc7f9" providerId="ADAL" clId="{F95D93EE-FAB6-4FB5-8BEC-D281DC6DC390}" dt="2022-05-12T18:58:22.730" v="1" actId="47"/>
        <pc:sldMkLst>
          <pc:docMk/>
          <pc:sldMk cId="961279457" sldId="2146848131"/>
        </pc:sldMkLst>
      </pc:sldChg>
      <pc:sldChg chg="del">
        <pc:chgData name="Pirone, Chiara" userId="d9d5b965-323f-43ee-9ca8-6b95d06dc7f9" providerId="ADAL" clId="{F95D93EE-FAB6-4FB5-8BEC-D281DC6DC390}" dt="2022-05-12T18:58:48.230" v="2" actId="47"/>
        <pc:sldMkLst>
          <pc:docMk/>
          <pc:sldMk cId="2208266181" sldId="2146848132"/>
        </pc:sldMkLst>
      </pc:sldChg>
      <pc:sldChg chg="modSp mod">
        <pc:chgData name="Pirone, Chiara" userId="d9d5b965-323f-43ee-9ca8-6b95d06dc7f9" providerId="ADAL" clId="{F95D93EE-FAB6-4FB5-8BEC-D281DC6DC390}" dt="2022-05-12T19:06:01.812" v="168" actId="6549"/>
        <pc:sldMkLst>
          <pc:docMk/>
          <pc:sldMk cId="2809133425" sldId="2146848133"/>
        </pc:sldMkLst>
        <pc:spChg chg="mod">
          <ac:chgData name="Pirone, Chiara" userId="d9d5b965-323f-43ee-9ca8-6b95d06dc7f9" providerId="ADAL" clId="{F95D93EE-FAB6-4FB5-8BEC-D281DC6DC390}" dt="2022-05-12T19:06:01.812" v="168" actId="6549"/>
          <ac:spMkLst>
            <pc:docMk/>
            <pc:sldMk cId="2809133425" sldId="2146848133"/>
            <ac:spMk id="5" creationId="{71FC05DF-1049-4298-B58D-4B607A3411D2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9" creationId="{29F2E4FC-0F75-44E8-BC86-276F317A45C2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11" creationId="{7F9B95AF-17CC-4A93-9BB7-04D23ADBF3BF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12" creationId="{B4080D46-A063-4AEC-92B1-A2880B57B89A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13" creationId="{A4DAF590-3B68-4220-B7EA-816A3F2694C4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14" creationId="{D94B092A-A10B-400F-BFB9-BD92B1AC5FE7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16" creationId="{89F9CA1E-5806-4CD0-A106-530743F839CD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17" creationId="{98E6E25E-3681-4E72-B035-7C1B4B177C46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18" creationId="{538C4FF7-EAAB-44D4-986D-5FED3EDFA3D4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31" creationId="{C1998E81-ECC6-446B-9A97-2D6260B37A22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42" creationId="{2F51013A-D400-F140-92C0-CE7DFE372032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43" creationId="{A0182F4D-1A01-D04C-A03B-9DC7B5A64B1B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44" creationId="{0282FEE6-4DBE-6F4B-8C9B-DF4D632FDFAE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45" creationId="{7F78570A-860B-0C43-9313-028FF0672DE7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49" creationId="{7722631B-FCF1-5A41-9C67-5D7BCEE8EC5B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50" creationId="{06912753-1524-BA48-BC37-0A69C7D8BF24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51" creationId="{F2802538-6901-8A4F-ADE2-920267CA58E6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52" creationId="{F16CA24F-C225-DE4D-ACA0-D691FBE892DE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53" creationId="{50CC7202-D1B4-074C-AAFC-239B83B7BFD4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54" creationId="{E7E5EE27-286B-3F44-83FC-6B2FF00122F7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55" creationId="{07400D12-0C72-8140-9770-C43E4838BC39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56" creationId="{703E39CA-DE35-344C-A7DE-99FAAF2E0FD6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57" creationId="{D1D1FCC2-E80B-CB4A-A260-706E94259619}"/>
          </ac:spMkLst>
        </pc:spChg>
        <pc:spChg chg="mod">
          <ac:chgData name="Pirone, Chiara" userId="d9d5b965-323f-43ee-9ca8-6b95d06dc7f9" providerId="ADAL" clId="{F95D93EE-FAB6-4FB5-8BEC-D281DC6DC390}" dt="2022-05-12T19:05:53.478" v="152" actId="1036"/>
          <ac:spMkLst>
            <pc:docMk/>
            <pc:sldMk cId="2809133425" sldId="2146848133"/>
            <ac:spMk id="58" creationId="{CD39884B-E15F-014E-94D0-37AAB52BE10A}"/>
          </ac:spMkLst>
        </pc:spChg>
        <pc:grpChg chg="mod">
          <ac:chgData name="Pirone, Chiara" userId="d9d5b965-323f-43ee-9ca8-6b95d06dc7f9" providerId="ADAL" clId="{F95D93EE-FAB6-4FB5-8BEC-D281DC6DC390}" dt="2022-05-12T19:05:53.478" v="152" actId="1036"/>
          <ac:grpSpMkLst>
            <pc:docMk/>
            <pc:sldMk cId="2809133425" sldId="2146848133"/>
            <ac:grpSpMk id="41" creationId="{79977DA5-27AE-7946-87B5-E797AC1B21C1}"/>
          </ac:grpSpMkLst>
        </pc:grpChg>
        <pc:picChg chg="mod">
          <ac:chgData name="Pirone, Chiara" userId="d9d5b965-323f-43ee-9ca8-6b95d06dc7f9" providerId="ADAL" clId="{F95D93EE-FAB6-4FB5-8BEC-D281DC6DC390}" dt="2022-05-12T19:05:53.478" v="152" actId="1036"/>
          <ac:picMkLst>
            <pc:docMk/>
            <pc:sldMk cId="2809133425" sldId="2146848133"/>
            <ac:picMk id="39" creationId="{77AF6685-3D74-9041-9E97-A0671C39BAC6}"/>
          </ac:picMkLst>
        </pc:picChg>
        <pc:picChg chg="mod">
          <ac:chgData name="Pirone, Chiara" userId="d9d5b965-323f-43ee-9ca8-6b95d06dc7f9" providerId="ADAL" clId="{F95D93EE-FAB6-4FB5-8BEC-D281DC6DC390}" dt="2022-05-12T19:05:53.478" v="152" actId="1036"/>
          <ac:picMkLst>
            <pc:docMk/>
            <pc:sldMk cId="2809133425" sldId="2146848133"/>
            <ac:picMk id="40" creationId="{CF127CDB-7FF2-174D-AFAE-38735794DC3F}"/>
          </ac:picMkLst>
        </pc:picChg>
      </pc:sldChg>
      <pc:sldChg chg="del">
        <pc:chgData name="Pirone, Chiara" userId="d9d5b965-323f-43ee-9ca8-6b95d06dc7f9" providerId="ADAL" clId="{F95D93EE-FAB6-4FB5-8BEC-D281DC6DC390}" dt="2022-05-12T18:58:55.147" v="3" actId="47"/>
        <pc:sldMkLst>
          <pc:docMk/>
          <pc:sldMk cId="2743902284" sldId="2146848134"/>
        </pc:sldMkLst>
      </pc:sldChg>
      <pc:sldChg chg="del">
        <pc:chgData name="Pirone, Chiara" userId="d9d5b965-323f-43ee-9ca8-6b95d06dc7f9" providerId="ADAL" clId="{F95D93EE-FAB6-4FB5-8BEC-D281DC6DC390}" dt="2022-05-12T18:58:55.147" v="3" actId="47"/>
        <pc:sldMkLst>
          <pc:docMk/>
          <pc:sldMk cId="3856066663" sldId="2146848137"/>
        </pc:sldMkLst>
      </pc:sldChg>
      <pc:sldChg chg="modSp">
        <pc:chgData name="Pirone, Chiara" userId="d9d5b965-323f-43ee-9ca8-6b95d06dc7f9" providerId="ADAL" clId="{F95D93EE-FAB6-4FB5-8BEC-D281DC6DC390}" dt="2022-05-12T19:06:09.038" v="178" actId="1035"/>
        <pc:sldMkLst>
          <pc:docMk/>
          <pc:sldMk cId="3629858594" sldId="2146848139"/>
        </pc:sldMkLst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3" creationId="{15057029-F6BC-4063-B17D-91887C7C6F56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22" creationId="{6C8ED81E-0B39-3544-B3A3-F8D67FFC9349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24" creationId="{63EDA3C8-173F-9E40-B5BE-4561B393E7F2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36" creationId="{1017DC22-111A-E64F-AB27-0166A569E0CF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37" creationId="{6DAF2E39-F803-B048-B467-284914F83B5B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38" creationId="{0B12911E-86ED-E54D-8757-22756C1888AB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39" creationId="{9C05CC3F-C48B-FA43-8999-FA6D7BE044F3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41" creationId="{713FAEBF-D161-9141-9A9D-8288A45E54F1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42" creationId="{E7CF7173-52F9-4B48-8895-FFD552389450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43" creationId="{FA38F989-FE06-5D43-995B-A4D932EFC9C9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44" creationId="{D247286F-9C21-794D-ACAB-BC4A2E5B2AD1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47" creationId="{7159FF56-386A-D542-8FB6-EEF13607CD8A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48" creationId="{EEE4DB85-303F-6C4D-B6DB-159748412C91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56" creationId="{6928C7D9-97F7-B241-BD7E-0082C0D61C04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57" creationId="{F88D2B92-970B-3047-B9FA-C244E099D067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58" creationId="{C19521F3-42FE-C346-8C6C-3626763D7A51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59" creationId="{C3A1B979-6F8F-1742-925D-13DE897FEC48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60" creationId="{76521C53-D08A-7743-AA38-91D64396E6D6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61" creationId="{0D62BD4E-C02C-874C-87CB-6C8055FD1AB9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67" creationId="{1AD756E3-A46F-0246-B0A0-B4E15A512D13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68" creationId="{D7DB698B-3CFF-C349-B168-B8FC071BE71B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69" creationId="{C3EF80AD-92EB-7E4C-9E69-69B8BE554EA1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72" creationId="{410331BC-B9DE-DC48-81C8-D778AEE074AC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74" creationId="{209FA700-48F0-0B40-89F2-377F528E16B4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75" creationId="{1F8632BD-A72D-414B-A8D6-28EB4D1B65E1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76" creationId="{79F09386-5DF5-2644-8F9C-9B03C0145E88}"/>
          </ac:spMkLst>
        </pc:spChg>
        <pc:spChg chg="mod">
          <ac:chgData name="Pirone, Chiara" userId="d9d5b965-323f-43ee-9ca8-6b95d06dc7f9" providerId="ADAL" clId="{F95D93EE-FAB6-4FB5-8BEC-D281DC6DC390}" dt="2022-05-12T19:06:09.038" v="178" actId="1035"/>
          <ac:spMkLst>
            <pc:docMk/>
            <pc:sldMk cId="3629858594" sldId="2146848139"/>
            <ac:spMk id="77" creationId="{3A64649A-0E52-334F-9725-6C6C5944349F}"/>
          </ac:spMkLst>
        </pc:spChg>
        <pc:grpChg chg="mod">
          <ac:chgData name="Pirone, Chiara" userId="d9d5b965-323f-43ee-9ca8-6b95d06dc7f9" providerId="ADAL" clId="{F95D93EE-FAB6-4FB5-8BEC-D281DC6DC390}" dt="2022-05-12T19:06:09.038" v="178" actId="1035"/>
          <ac:grpSpMkLst>
            <pc:docMk/>
            <pc:sldMk cId="3629858594" sldId="2146848139"/>
            <ac:grpSpMk id="35" creationId="{0DF57465-5BF0-7343-9496-FAD1AA792488}"/>
          </ac:grpSpMkLst>
        </pc:grpChg>
        <pc:grpChg chg="mod">
          <ac:chgData name="Pirone, Chiara" userId="d9d5b965-323f-43ee-9ca8-6b95d06dc7f9" providerId="ADAL" clId="{F95D93EE-FAB6-4FB5-8BEC-D281DC6DC390}" dt="2022-05-12T19:06:09.038" v="178" actId="1035"/>
          <ac:grpSpMkLst>
            <pc:docMk/>
            <pc:sldMk cId="3629858594" sldId="2146848139"/>
            <ac:grpSpMk id="40" creationId="{B3A1C701-883D-AD45-B215-52F8E1FBF8B5}"/>
          </ac:grpSpMkLst>
        </pc:grpChg>
        <pc:picChg chg="mod">
          <ac:chgData name="Pirone, Chiara" userId="d9d5b965-323f-43ee-9ca8-6b95d06dc7f9" providerId="ADAL" clId="{F95D93EE-FAB6-4FB5-8BEC-D281DC6DC390}" dt="2022-05-12T19:06:09.038" v="178" actId="1035"/>
          <ac:picMkLst>
            <pc:docMk/>
            <pc:sldMk cId="3629858594" sldId="2146848139"/>
            <ac:picMk id="73" creationId="{BAE3AD63-2292-0B4D-88A0-C0B3CD680085}"/>
          </ac:picMkLst>
        </pc:picChg>
      </pc:sldChg>
      <pc:sldChg chg="del">
        <pc:chgData name="Pirone, Chiara" userId="d9d5b965-323f-43ee-9ca8-6b95d06dc7f9" providerId="ADAL" clId="{F95D93EE-FAB6-4FB5-8BEC-D281DC6DC390}" dt="2022-05-12T18:59:12.545" v="4" actId="47"/>
        <pc:sldMkLst>
          <pc:docMk/>
          <pc:sldMk cId="3209305554" sldId="2146848140"/>
        </pc:sldMkLst>
      </pc:sldChg>
      <pc:sldChg chg="del">
        <pc:chgData name="Pirone, Chiara" userId="d9d5b965-323f-43ee-9ca8-6b95d06dc7f9" providerId="ADAL" clId="{F95D93EE-FAB6-4FB5-8BEC-D281DC6DC390}" dt="2022-05-12T18:58:22.730" v="1" actId="47"/>
        <pc:sldMkLst>
          <pc:docMk/>
          <pc:sldMk cId="2217163281" sldId="2146848141"/>
        </pc:sldMkLst>
      </pc:sldChg>
      <pc:sldChg chg="del">
        <pc:chgData name="Pirone, Chiara" userId="d9d5b965-323f-43ee-9ca8-6b95d06dc7f9" providerId="ADAL" clId="{F95D93EE-FAB6-4FB5-8BEC-D281DC6DC390}" dt="2022-05-12T18:58:22.730" v="1" actId="47"/>
        <pc:sldMkLst>
          <pc:docMk/>
          <pc:sldMk cId="257014009" sldId="2146848142"/>
        </pc:sldMkLst>
      </pc:sldChg>
      <pc:sldChg chg="del">
        <pc:chgData name="Pirone, Chiara" userId="d9d5b965-323f-43ee-9ca8-6b95d06dc7f9" providerId="ADAL" clId="{F95D93EE-FAB6-4FB5-8BEC-D281DC6DC390}" dt="2022-05-12T18:59:12.545" v="4" actId="47"/>
        <pc:sldMkLst>
          <pc:docMk/>
          <pc:sldMk cId="3053839888" sldId="2146848143"/>
        </pc:sldMkLst>
      </pc:sldChg>
      <pc:sldChg chg="del">
        <pc:chgData name="Pirone, Chiara" userId="d9d5b965-323f-43ee-9ca8-6b95d06dc7f9" providerId="ADAL" clId="{F95D93EE-FAB6-4FB5-8BEC-D281DC6DC390}" dt="2022-05-12T18:59:36.255" v="9" actId="47"/>
        <pc:sldMkLst>
          <pc:docMk/>
          <pc:sldMk cId="2206209031" sldId="2147375117"/>
        </pc:sldMkLst>
      </pc:sldChg>
      <pc:sldChg chg="del">
        <pc:chgData name="Pirone, Chiara" userId="d9d5b965-323f-43ee-9ca8-6b95d06dc7f9" providerId="ADAL" clId="{F95D93EE-FAB6-4FB5-8BEC-D281DC6DC390}" dt="2022-05-12T18:59:47.737" v="10" actId="47"/>
        <pc:sldMkLst>
          <pc:docMk/>
          <pc:sldMk cId="3953797472" sldId="2147375118"/>
        </pc:sldMkLst>
      </pc:sldChg>
      <pc:sldChg chg="modSp mod">
        <pc:chgData name="Pirone, Chiara" userId="d9d5b965-323f-43ee-9ca8-6b95d06dc7f9" providerId="ADAL" clId="{F95D93EE-FAB6-4FB5-8BEC-D281DC6DC390}" dt="2022-05-12T19:00:38.205" v="31" actId="20577"/>
        <pc:sldMkLst>
          <pc:docMk/>
          <pc:sldMk cId="2387388031" sldId="2147375119"/>
        </pc:sldMkLst>
        <pc:spChg chg="mod">
          <ac:chgData name="Pirone, Chiara" userId="d9d5b965-323f-43ee-9ca8-6b95d06dc7f9" providerId="ADAL" clId="{F95D93EE-FAB6-4FB5-8BEC-D281DC6DC390}" dt="2022-05-12T19:00:38.205" v="31" actId="20577"/>
          <ac:spMkLst>
            <pc:docMk/>
            <pc:sldMk cId="2387388031" sldId="2147375119"/>
            <ac:spMk id="4" creationId="{1849D469-D93A-4489-B084-A35E0246CCED}"/>
          </ac:spMkLst>
        </pc:spChg>
        <pc:spChg chg="mod">
          <ac:chgData name="Pirone, Chiara" userId="d9d5b965-323f-43ee-9ca8-6b95d06dc7f9" providerId="ADAL" clId="{F95D93EE-FAB6-4FB5-8BEC-D281DC6DC390}" dt="2022-05-12T19:00:32.251" v="13" actId="20577"/>
          <ac:spMkLst>
            <pc:docMk/>
            <pc:sldMk cId="2387388031" sldId="2147375119"/>
            <ac:spMk id="5" creationId="{53DD0B3D-148E-411C-AD8A-203B27560E7C}"/>
          </ac:spMkLst>
        </pc:spChg>
        <pc:spChg chg="mod">
          <ac:chgData name="Pirone, Chiara" userId="d9d5b965-323f-43ee-9ca8-6b95d06dc7f9" providerId="ADAL" clId="{F95D93EE-FAB6-4FB5-8BEC-D281DC6DC390}" dt="2022-05-12T19:00:14.729" v="12" actId="113"/>
          <ac:spMkLst>
            <pc:docMk/>
            <pc:sldMk cId="2387388031" sldId="2147375119"/>
            <ac:spMk id="22" creationId="{16CC796A-769E-41B3-B343-5AE93432F5CC}"/>
          </ac:spMkLst>
        </pc:spChg>
      </pc:sldChg>
      <pc:sldChg chg="del">
        <pc:chgData name="Pirone, Chiara" userId="d9d5b965-323f-43ee-9ca8-6b95d06dc7f9" providerId="ADAL" clId="{F95D93EE-FAB6-4FB5-8BEC-D281DC6DC390}" dt="2022-05-12T19:10:18.931" v="318" actId="47"/>
        <pc:sldMkLst>
          <pc:docMk/>
          <pc:sldMk cId="1110086735" sldId="2147375125"/>
        </pc:sldMkLst>
      </pc:sldChg>
      <pc:sldChg chg="modSp mod">
        <pc:chgData name="Pirone, Chiara" userId="d9d5b965-323f-43ee-9ca8-6b95d06dc7f9" providerId="ADAL" clId="{F95D93EE-FAB6-4FB5-8BEC-D281DC6DC390}" dt="2022-05-12T19:01:15.461" v="40" actId="113"/>
        <pc:sldMkLst>
          <pc:docMk/>
          <pc:sldMk cId="1527442387" sldId="2147375127"/>
        </pc:sldMkLst>
        <pc:spChg chg="mod">
          <ac:chgData name="Pirone, Chiara" userId="d9d5b965-323f-43ee-9ca8-6b95d06dc7f9" providerId="ADAL" clId="{F95D93EE-FAB6-4FB5-8BEC-D281DC6DC390}" dt="2022-05-12T19:00:49.871" v="37" actId="6549"/>
          <ac:spMkLst>
            <pc:docMk/>
            <pc:sldMk cId="1527442387" sldId="2147375127"/>
            <ac:spMk id="4" creationId="{A1FB4D47-CCDD-4BC0-93B4-8DBA1C574F61}"/>
          </ac:spMkLst>
        </pc:spChg>
        <pc:spChg chg="mod">
          <ac:chgData name="Pirone, Chiara" userId="d9d5b965-323f-43ee-9ca8-6b95d06dc7f9" providerId="ADAL" clId="{F95D93EE-FAB6-4FB5-8BEC-D281DC6DC390}" dt="2022-05-12T19:01:15.461" v="40" actId="113"/>
          <ac:spMkLst>
            <pc:docMk/>
            <pc:sldMk cId="1527442387" sldId="2147375127"/>
            <ac:spMk id="11" creationId="{FCB594F3-8FF3-4F63-B609-1A71669D1F07}"/>
          </ac:spMkLst>
        </pc:spChg>
        <pc:spChg chg="mod">
          <ac:chgData name="Pirone, Chiara" userId="d9d5b965-323f-43ee-9ca8-6b95d06dc7f9" providerId="ADAL" clId="{F95D93EE-FAB6-4FB5-8BEC-D281DC6DC390}" dt="2022-05-12T19:00:46.378" v="32" actId="20577"/>
          <ac:spMkLst>
            <pc:docMk/>
            <pc:sldMk cId="1527442387" sldId="2147375127"/>
            <ac:spMk id="25" creationId="{AA8DC7C3-F2F3-4F31-A630-73E323E67DC0}"/>
          </ac:spMkLst>
        </pc:spChg>
      </pc:sldChg>
      <pc:sldChg chg="del">
        <pc:chgData name="Pirone, Chiara" userId="d9d5b965-323f-43ee-9ca8-6b95d06dc7f9" providerId="ADAL" clId="{F95D93EE-FAB6-4FB5-8BEC-D281DC6DC390}" dt="2022-05-12T19:10:18.931" v="318" actId="47"/>
        <pc:sldMkLst>
          <pc:docMk/>
          <pc:sldMk cId="1929889993" sldId="2147375128"/>
        </pc:sldMkLst>
      </pc:sldChg>
      <pc:sldChg chg="addSp modSp mod modShow">
        <pc:chgData name="Pirone, Chiara" userId="d9d5b965-323f-43ee-9ca8-6b95d06dc7f9" providerId="ADAL" clId="{F95D93EE-FAB6-4FB5-8BEC-D281DC6DC390}" dt="2022-05-12T19:30:05.622" v="466" actId="1076"/>
        <pc:sldMkLst>
          <pc:docMk/>
          <pc:sldMk cId="2160538873" sldId="2147375129"/>
        </pc:sldMkLst>
        <pc:spChg chg="add mod">
          <ac:chgData name="Pirone, Chiara" userId="d9d5b965-323f-43ee-9ca8-6b95d06dc7f9" providerId="ADAL" clId="{F95D93EE-FAB6-4FB5-8BEC-D281DC6DC390}" dt="2022-05-12T19:30:05.622" v="466" actId="1076"/>
          <ac:spMkLst>
            <pc:docMk/>
            <pc:sldMk cId="2160538873" sldId="2147375129"/>
            <ac:spMk id="2" creationId="{ED6D9981-4C97-4C97-815A-4C61D35B69CD}"/>
          </ac:spMkLst>
        </pc:spChg>
      </pc:sldChg>
      <pc:sldChg chg="modSp mod">
        <pc:chgData name="Pirone, Chiara" userId="d9d5b965-323f-43ee-9ca8-6b95d06dc7f9" providerId="ADAL" clId="{F95D93EE-FAB6-4FB5-8BEC-D281DC6DC390}" dt="2022-05-12T19:10:06.687" v="317" actId="14100"/>
        <pc:sldMkLst>
          <pc:docMk/>
          <pc:sldMk cId="4133243895" sldId="2147375130"/>
        </pc:sldMkLst>
        <pc:spChg chg="mod">
          <ac:chgData name="Pirone, Chiara" userId="d9d5b965-323f-43ee-9ca8-6b95d06dc7f9" providerId="ADAL" clId="{F95D93EE-FAB6-4FB5-8BEC-D281DC6DC390}" dt="2022-05-12T19:01:42.802" v="87" actId="20577"/>
          <ac:spMkLst>
            <pc:docMk/>
            <pc:sldMk cId="4133243895" sldId="2147375130"/>
            <ac:spMk id="4" creationId="{F0DB89CC-A560-49CA-8884-9A460F1468E4}"/>
          </ac:spMkLst>
        </pc:spChg>
        <pc:spChg chg="mod">
          <ac:chgData name="Pirone, Chiara" userId="d9d5b965-323f-43ee-9ca8-6b95d06dc7f9" providerId="ADAL" clId="{F95D93EE-FAB6-4FB5-8BEC-D281DC6DC390}" dt="2022-05-12T19:10:06.687" v="317" actId="14100"/>
          <ac:spMkLst>
            <pc:docMk/>
            <pc:sldMk cId="4133243895" sldId="2147375130"/>
            <ac:spMk id="11" creationId="{D12D3958-3370-45FD-8CF3-EEF00467B3D1}"/>
          </ac:spMkLst>
        </pc:spChg>
        <pc:spChg chg="mod">
          <ac:chgData name="Pirone, Chiara" userId="d9d5b965-323f-43ee-9ca8-6b95d06dc7f9" providerId="ADAL" clId="{F95D93EE-FAB6-4FB5-8BEC-D281DC6DC390}" dt="2022-05-12T19:10:02.428" v="316" actId="1038"/>
          <ac:spMkLst>
            <pc:docMk/>
            <pc:sldMk cId="4133243895" sldId="2147375130"/>
            <ac:spMk id="12" creationId="{EC0DFAC7-5D72-41AA-9E1A-7D3E2D1748A9}"/>
          </ac:spMkLst>
        </pc:spChg>
        <pc:spChg chg="mod">
          <ac:chgData name="Pirone, Chiara" userId="d9d5b965-323f-43ee-9ca8-6b95d06dc7f9" providerId="ADAL" clId="{F95D93EE-FAB6-4FB5-8BEC-D281DC6DC390}" dt="2022-05-12T19:10:02.428" v="316" actId="1038"/>
          <ac:spMkLst>
            <pc:docMk/>
            <pc:sldMk cId="4133243895" sldId="2147375130"/>
            <ac:spMk id="13" creationId="{AAA20B91-6E65-4E97-8060-3E6C488E88CB}"/>
          </ac:spMkLst>
        </pc:spChg>
        <pc:spChg chg="mod">
          <ac:chgData name="Pirone, Chiara" userId="d9d5b965-323f-43ee-9ca8-6b95d06dc7f9" providerId="ADAL" clId="{F95D93EE-FAB6-4FB5-8BEC-D281DC6DC390}" dt="2022-05-12T19:10:02.428" v="316" actId="1038"/>
          <ac:spMkLst>
            <pc:docMk/>
            <pc:sldMk cId="4133243895" sldId="2147375130"/>
            <ac:spMk id="14" creationId="{20E499B7-3AEF-4BAC-9D26-FA6C17FB3913}"/>
          </ac:spMkLst>
        </pc:spChg>
        <pc:spChg chg="mod">
          <ac:chgData name="Pirone, Chiara" userId="d9d5b965-323f-43ee-9ca8-6b95d06dc7f9" providerId="ADAL" clId="{F95D93EE-FAB6-4FB5-8BEC-D281DC6DC390}" dt="2022-05-12T19:10:02.428" v="316" actId="1038"/>
          <ac:spMkLst>
            <pc:docMk/>
            <pc:sldMk cId="4133243895" sldId="2147375130"/>
            <ac:spMk id="18" creationId="{A0492987-9B3A-44AD-8D2E-47CA258E43C8}"/>
          </ac:spMkLst>
        </pc:spChg>
      </pc:sldChg>
      <pc:sldChg chg="modSp mod">
        <pc:chgData name="Pirone, Chiara" userId="d9d5b965-323f-43ee-9ca8-6b95d06dc7f9" providerId="ADAL" clId="{F95D93EE-FAB6-4FB5-8BEC-D281DC6DC390}" dt="2022-05-12T19:09:56.317" v="296" actId="14100"/>
        <pc:sldMkLst>
          <pc:docMk/>
          <pc:sldMk cId="4141341777" sldId="2147375131"/>
        </pc:sldMkLst>
        <pc:spChg chg="mod">
          <ac:chgData name="Pirone, Chiara" userId="d9d5b965-323f-43ee-9ca8-6b95d06dc7f9" providerId="ADAL" clId="{F95D93EE-FAB6-4FB5-8BEC-D281DC6DC390}" dt="2022-05-12T19:02:59.215" v="105" actId="20577"/>
          <ac:spMkLst>
            <pc:docMk/>
            <pc:sldMk cId="4141341777" sldId="2147375131"/>
            <ac:spMk id="4" creationId="{5E786EB0-A6C6-44EF-90A6-A3084C2E1CC2}"/>
          </ac:spMkLst>
        </pc:spChg>
        <pc:spChg chg="mod">
          <ac:chgData name="Pirone, Chiara" userId="d9d5b965-323f-43ee-9ca8-6b95d06dc7f9" providerId="ADAL" clId="{F95D93EE-FAB6-4FB5-8BEC-D281DC6DC390}" dt="2022-05-12T19:02:55.541" v="92" actId="20577"/>
          <ac:spMkLst>
            <pc:docMk/>
            <pc:sldMk cId="4141341777" sldId="2147375131"/>
            <ac:spMk id="5" creationId="{10615DCE-7A2E-4144-A78A-EB1138272F6A}"/>
          </ac:spMkLst>
        </pc:spChg>
        <pc:spChg chg="mod">
          <ac:chgData name="Pirone, Chiara" userId="d9d5b965-323f-43ee-9ca8-6b95d06dc7f9" providerId="ADAL" clId="{F95D93EE-FAB6-4FB5-8BEC-D281DC6DC390}" dt="2022-05-12T19:09:56.317" v="296" actId="14100"/>
          <ac:spMkLst>
            <pc:docMk/>
            <pc:sldMk cId="4141341777" sldId="2147375131"/>
            <ac:spMk id="11" creationId="{FC6557EE-D6E5-464D-8BAD-B3763A492B80}"/>
          </ac:spMkLst>
        </pc:spChg>
        <pc:spChg chg="mod">
          <ac:chgData name="Pirone, Chiara" userId="d9d5b965-323f-43ee-9ca8-6b95d06dc7f9" providerId="ADAL" clId="{F95D93EE-FAB6-4FB5-8BEC-D281DC6DC390}" dt="2022-05-12T19:09:52.945" v="295" actId="1038"/>
          <ac:spMkLst>
            <pc:docMk/>
            <pc:sldMk cId="4141341777" sldId="2147375131"/>
            <ac:spMk id="13" creationId="{86E14709-D7DD-42F5-BBC9-F1CEDD019090}"/>
          </ac:spMkLst>
        </pc:spChg>
        <pc:spChg chg="mod">
          <ac:chgData name="Pirone, Chiara" userId="d9d5b965-323f-43ee-9ca8-6b95d06dc7f9" providerId="ADAL" clId="{F95D93EE-FAB6-4FB5-8BEC-D281DC6DC390}" dt="2022-05-12T19:09:52.945" v="295" actId="1038"/>
          <ac:spMkLst>
            <pc:docMk/>
            <pc:sldMk cId="4141341777" sldId="2147375131"/>
            <ac:spMk id="14" creationId="{6ADA7F61-981F-4383-8076-E7EA5D3D98C1}"/>
          </ac:spMkLst>
        </pc:spChg>
        <pc:spChg chg="mod">
          <ac:chgData name="Pirone, Chiara" userId="d9d5b965-323f-43ee-9ca8-6b95d06dc7f9" providerId="ADAL" clId="{F95D93EE-FAB6-4FB5-8BEC-D281DC6DC390}" dt="2022-05-12T19:09:52.945" v="295" actId="1038"/>
          <ac:spMkLst>
            <pc:docMk/>
            <pc:sldMk cId="4141341777" sldId="2147375131"/>
            <ac:spMk id="15" creationId="{E0658ED6-102F-4A68-861C-7EA1399AA29D}"/>
          </ac:spMkLst>
        </pc:spChg>
        <pc:spChg chg="mod">
          <ac:chgData name="Pirone, Chiara" userId="d9d5b965-323f-43ee-9ca8-6b95d06dc7f9" providerId="ADAL" clId="{F95D93EE-FAB6-4FB5-8BEC-D281DC6DC390}" dt="2022-05-12T19:09:52.945" v="295" actId="1038"/>
          <ac:spMkLst>
            <pc:docMk/>
            <pc:sldMk cId="4141341777" sldId="2147375131"/>
            <ac:spMk id="16" creationId="{343BCB4E-3CE3-4096-8D3C-E95797AB1B6C}"/>
          </ac:spMkLst>
        </pc:spChg>
        <pc:spChg chg="mod">
          <ac:chgData name="Pirone, Chiara" userId="d9d5b965-323f-43ee-9ca8-6b95d06dc7f9" providerId="ADAL" clId="{F95D93EE-FAB6-4FB5-8BEC-D281DC6DC390}" dt="2022-05-12T19:09:52.945" v="295" actId="1038"/>
          <ac:spMkLst>
            <pc:docMk/>
            <pc:sldMk cId="4141341777" sldId="2147375131"/>
            <ac:spMk id="20" creationId="{8B2B840C-349D-4E46-B7D0-9C90FF977B88}"/>
          </ac:spMkLst>
        </pc:spChg>
        <pc:spChg chg="mod">
          <ac:chgData name="Pirone, Chiara" userId="d9d5b965-323f-43ee-9ca8-6b95d06dc7f9" providerId="ADAL" clId="{F95D93EE-FAB6-4FB5-8BEC-D281DC6DC390}" dt="2022-05-12T19:09:52.945" v="295" actId="1038"/>
          <ac:spMkLst>
            <pc:docMk/>
            <pc:sldMk cId="4141341777" sldId="2147375131"/>
            <ac:spMk id="21" creationId="{95A64864-26A6-4937-9117-BAAA8562E076}"/>
          </ac:spMkLst>
        </pc:spChg>
      </pc:sldChg>
      <pc:sldChg chg="addSp delSp modSp mod">
        <pc:chgData name="Pirone, Chiara" userId="d9d5b965-323f-43ee-9ca8-6b95d06dc7f9" providerId="ADAL" clId="{F95D93EE-FAB6-4FB5-8BEC-D281DC6DC390}" dt="2022-05-12T19:05:38.874" v="130"/>
        <pc:sldMkLst>
          <pc:docMk/>
          <pc:sldMk cId="1336763680" sldId="2147375132"/>
        </pc:sldMkLst>
        <pc:spChg chg="add del mod">
          <ac:chgData name="Pirone, Chiara" userId="d9d5b965-323f-43ee-9ca8-6b95d06dc7f9" providerId="ADAL" clId="{F95D93EE-FAB6-4FB5-8BEC-D281DC6DC390}" dt="2022-05-12T19:05:35.164" v="129" actId="478"/>
          <ac:spMkLst>
            <pc:docMk/>
            <pc:sldMk cId="1336763680" sldId="2147375132"/>
            <ac:spMk id="3" creationId="{6BC2674A-194F-4120-9830-D3E12DA5A917}"/>
          </ac:spMkLst>
        </pc:spChg>
        <pc:spChg chg="mod">
          <ac:chgData name="Pirone, Chiara" userId="d9d5b965-323f-43ee-9ca8-6b95d06dc7f9" providerId="ADAL" clId="{F95D93EE-FAB6-4FB5-8BEC-D281DC6DC390}" dt="2022-05-12T19:04:43.409" v="121" actId="20577"/>
          <ac:spMkLst>
            <pc:docMk/>
            <pc:sldMk cId="1336763680" sldId="2147375132"/>
            <ac:spMk id="4" creationId="{901CDE1B-ED7A-437C-8351-9B630706140C}"/>
          </ac:spMkLst>
        </pc:spChg>
        <pc:spChg chg="del">
          <ac:chgData name="Pirone, Chiara" userId="d9d5b965-323f-43ee-9ca8-6b95d06dc7f9" providerId="ADAL" clId="{F95D93EE-FAB6-4FB5-8BEC-D281DC6DC390}" dt="2022-05-12T19:04:40.926" v="120" actId="478"/>
          <ac:spMkLst>
            <pc:docMk/>
            <pc:sldMk cId="1336763680" sldId="2147375132"/>
            <ac:spMk id="5" creationId="{B03DA7F9-5428-4774-BFDD-30FA1A95D8F9}"/>
          </ac:spMkLst>
        </pc:spChg>
        <pc:spChg chg="mod">
          <ac:chgData name="Pirone, Chiara" userId="d9d5b965-323f-43ee-9ca8-6b95d06dc7f9" providerId="ADAL" clId="{F95D93EE-FAB6-4FB5-8BEC-D281DC6DC390}" dt="2022-05-12T19:05:28.748" v="128" actId="113"/>
          <ac:spMkLst>
            <pc:docMk/>
            <pc:sldMk cId="1336763680" sldId="2147375132"/>
            <ac:spMk id="11" creationId="{B4C5DC21-DAA5-4368-B54C-B1DD76B5D9B7}"/>
          </ac:spMkLst>
        </pc:spChg>
        <pc:spChg chg="add mod">
          <ac:chgData name="Pirone, Chiara" userId="d9d5b965-323f-43ee-9ca8-6b95d06dc7f9" providerId="ADAL" clId="{F95D93EE-FAB6-4FB5-8BEC-D281DC6DC390}" dt="2022-05-12T19:05:38.874" v="130"/>
          <ac:spMkLst>
            <pc:docMk/>
            <pc:sldMk cId="1336763680" sldId="2147375132"/>
            <ac:spMk id="22" creationId="{4382FBD1-82CF-49BF-B305-18992D5DC97B}"/>
          </ac:spMkLst>
        </pc:spChg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2675460019" sldId="2147375139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3313409723" sldId="2147375140"/>
        </pc:sldMkLst>
      </pc:sldChg>
      <pc:sldChg chg="del">
        <pc:chgData name="Pirone, Chiara" userId="d9d5b965-323f-43ee-9ca8-6b95d06dc7f9" providerId="ADAL" clId="{F95D93EE-FAB6-4FB5-8BEC-D281DC6DC390}" dt="2022-05-12T18:58:22.730" v="1" actId="47"/>
        <pc:sldMkLst>
          <pc:docMk/>
          <pc:sldMk cId="786294899" sldId="2147375154"/>
        </pc:sldMkLst>
      </pc:sldChg>
      <pc:sldChg chg="del">
        <pc:chgData name="Pirone, Chiara" userId="d9d5b965-323f-43ee-9ca8-6b95d06dc7f9" providerId="ADAL" clId="{F95D93EE-FAB6-4FB5-8BEC-D281DC6DC390}" dt="2022-05-12T18:58:06.733" v="0" actId="47"/>
        <pc:sldMkLst>
          <pc:docMk/>
          <pc:sldMk cId="1931941216" sldId="2147375156"/>
        </pc:sldMkLst>
      </pc:sldChg>
      <pc:sldChg chg="del">
        <pc:chgData name="Pirone, Chiara" userId="d9d5b965-323f-43ee-9ca8-6b95d06dc7f9" providerId="ADAL" clId="{F95D93EE-FAB6-4FB5-8BEC-D281DC6DC390}" dt="2022-05-12T19:12:45.291" v="428" actId="47"/>
        <pc:sldMkLst>
          <pc:docMk/>
          <pc:sldMk cId="1171397264" sldId="2147375158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2830711198" sldId="2147375163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1498330052" sldId="2147375164"/>
        </pc:sldMkLst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3904431543" sldId="2147375165"/>
        </pc:sldMkLst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110631319" sldId="2147375166"/>
        </pc:sldMkLst>
      </pc:sldChg>
      <pc:sldChg chg="del">
        <pc:chgData name="Pirone, Chiara" userId="d9d5b965-323f-43ee-9ca8-6b95d06dc7f9" providerId="ADAL" clId="{F95D93EE-FAB6-4FB5-8BEC-D281DC6DC390}" dt="2022-05-12T19:12:17.476" v="426" actId="47"/>
        <pc:sldMkLst>
          <pc:docMk/>
          <pc:sldMk cId="1470717075" sldId="2147375168"/>
        </pc:sldMkLst>
      </pc:sldChg>
      <pc:sldChg chg="del">
        <pc:chgData name="Pirone, Chiara" userId="d9d5b965-323f-43ee-9ca8-6b95d06dc7f9" providerId="ADAL" clId="{F95D93EE-FAB6-4FB5-8BEC-D281DC6DC390}" dt="2022-05-12T19:12:17.476" v="426" actId="47"/>
        <pc:sldMkLst>
          <pc:docMk/>
          <pc:sldMk cId="3230368830" sldId="2147375175"/>
        </pc:sldMkLst>
      </pc:sldChg>
      <pc:sldChg chg="del">
        <pc:chgData name="Pirone, Chiara" userId="d9d5b965-323f-43ee-9ca8-6b95d06dc7f9" providerId="ADAL" clId="{F95D93EE-FAB6-4FB5-8BEC-D281DC6DC390}" dt="2022-05-12T19:12:17.476" v="426" actId="47"/>
        <pc:sldMkLst>
          <pc:docMk/>
          <pc:sldMk cId="3444588036" sldId="2147375176"/>
        </pc:sldMkLst>
      </pc:sldChg>
      <pc:sldChg chg="del">
        <pc:chgData name="Pirone, Chiara" userId="d9d5b965-323f-43ee-9ca8-6b95d06dc7f9" providerId="ADAL" clId="{F95D93EE-FAB6-4FB5-8BEC-D281DC6DC390}" dt="2022-05-12T19:12:17.476" v="426" actId="47"/>
        <pc:sldMkLst>
          <pc:docMk/>
          <pc:sldMk cId="2105950813" sldId="2147375177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2843719165" sldId="2147375178"/>
        </pc:sldMkLst>
      </pc:sldChg>
      <pc:sldChg chg="del">
        <pc:chgData name="Pirone, Chiara" userId="d9d5b965-323f-43ee-9ca8-6b95d06dc7f9" providerId="ADAL" clId="{F95D93EE-FAB6-4FB5-8BEC-D281DC6DC390}" dt="2022-05-12T19:12:10.568" v="425" actId="47"/>
        <pc:sldMkLst>
          <pc:docMk/>
          <pc:sldMk cId="4008955188" sldId="2147375179"/>
        </pc:sldMkLst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3103154549" sldId="2147375184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2228426293" sldId="2147375185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3405359166" sldId="2147375186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3852492560" sldId="2147375188"/>
        </pc:sldMkLst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3045794359" sldId="2147375189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1500733999" sldId="2147375190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3785109678" sldId="2147375191"/>
        </pc:sldMkLst>
      </pc:sldChg>
      <pc:sldChg chg="del">
        <pc:chgData name="Pirone, Chiara" userId="d9d5b965-323f-43ee-9ca8-6b95d06dc7f9" providerId="ADAL" clId="{F95D93EE-FAB6-4FB5-8BEC-D281DC6DC390}" dt="2022-05-12T19:12:10.568" v="425" actId="47"/>
        <pc:sldMkLst>
          <pc:docMk/>
          <pc:sldMk cId="3981056148" sldId="2147375192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3256304706" sldId="2147375193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3271981638" sldId="2147375194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3337655283" sldId="2147375195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2134353760" sldId="2147375196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751438552" sldId="2147375197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2400502823" sldId="2147375198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1315222392" sldId="2147375199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1904802876" sldId="2147375200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834959231" sldId="2147375201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3956484911" sldId="2147375202"/>
        </pc:sldMkLst>
      </pc:sldChg>
      <pc:sldChg chg="modSp mod ord">
        <pc:chgData name="Pirone, Chiara" userId="d9d5b965-323f-43ee-9ca8-6b95d06dc7f9" providerId="ADAL" clId="{F95D93EE-FAB6-4FB5-8BEC-D281DC6DC390}" dt="2022-05-12T19:10:59.875" v="395" actId="20577"/>
        <pc:sldMkLst>
          <pc:docMk/>
          <pc:sldMk cId="1561212288" sldId="2147375203"/>
        </pc:sldMkLst>
        <pc:spChg chg="mod">
          <ac:chgData name="Pirone, Chiara" userId="d9d5b965-323f-43ee-9ca8-6b95d06dc7f9" providerId="ADAL" clId="{F95D93EE-FAB6-4FB5-8BEC-D281DC6DC390}" dt="2022-05-12T19:10:59.875" v="395" actId="20577"/>
          <ac:spMkLst>
            <pc:docMk/>
            <pc:sldMk cId="1561212288" sldId="2147375203"/>
            <ac:spMk id="6" creationId="{35C324C2-282C-544A-A15D-7EDD28437F20}"/>
          </ac:spMkLst>
        </pc:spChg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198638272" sldId="2147375204"/>
        </pc:sldMkLst>
      </pc:sldChg>
      <pc:sldChg chg="del">
        <pc:chgData name="Pirone, Chiara" userId="d9d5b965-323f-43ee-9ca8-6b95d06dc7f9" providerId="ADAL" clId="{F95D93EE-FAB6-4FB5-8BEC-D281DC6DC390}" dt="2022-05-12T19:12:49.314" v="430" actId="47"/>
        <pc:sldMkLst>
          <pc:docMk/>
          <pc:sldMk cId="520675995" sldId="2147375205"/>
        </pc:sldMkLst>
      </pc:sldChg>
      <pc:sldChg chg="del">
        <pc:chgData name="Pirone, Chiara" userId="d9d5b965-323f-43ee-9ca8-6b95d06dc7f9" providerId="ADAL" clId="{F95D93EE-FAB6-4FB5-8BEC-D281DC6DC390}" dt="2022-05-12T19:12:45.291" v="428" actId="47"/>
        <pc:sldMkLst>
          <pc:docMk/>
          <pc:sldMk cId="733770657" sldId="2147375206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1465388646" sldId="2147375207"/>
        </pc:sldMkLst>
      </pc:sldChg>
      <pc:sldChg chg="del">
        <pc:chgData name="Pirone, Chiara" userId="d9d5b965-323f-43ee-9ca8-6b95d06dc7f9" providerId="ADAL" clId="{F95D93EE-FAB6-4FB5-8BEC-D281DC6DC390}" dt="2022-05-12T19:12:10.568" v="425" actId="47"/>
        <pc:sldMkLst>
          <pc:docMk/>
          <pc:sldMk cId="2461348778" sldId="2147375208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63934985" sldId="2147375209"/>
        </pc:sldMkLst>
      </pc:sldChg>
      <pc:sldChg chg="del">
        <pc:chgData name="Pirone, Chiara" userId="d9d5b965-323f-43ee-9ca8-6b95d06dc7f9" providerId="ADAL" clId="{F95D93EE-FAB6-4FB5-8BEC-D281DC6DC390}" dt="2022-05-12T19:12:49.314" v="430" actId="47"/>
        <pc:sldMkLst>
          <pc:docMk/>
          <pc:sldMk cId="2949150665" sldId="2147375210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2419890946" sldId="2147375211"/>
        </pc:sldMkLst>
      </pc:sldChg>
      <pc:sldChg chg="del">
        <pc:chgData name="Pirone, Chiara" userId="d9d5b965-323f-43ee-9ca8-6b95d06dc7f9" providerId="ADAL" clId="{F95D93EE-FAB6-4FB5-8BEC-D281DC6DC390}" dt="2022-05-12T19:12:45.291" v="428" actId="47"/>
        <pc:sldMkLst>
          <pc:docMk/>
          <pc:sldMk cId="373771513" sldId="2147375212"/>
        </pc:sldMkLst>
      </pc:sldChg>
      <pc:sldChg chg="del">
        <pc:chgData name="Pirone, Chiara" userId="d9d5b965-323f-43ee-9ca8-6b95d06dc7f9" providerId="ADAL" clId="{F95D93EE-FAB6-4FB5-8BEC-D281DC6DC390}" dt="2022-05-12T18:58:06.733" v="0" actId="47"/>
        <pc:sldMkLst>
          <pc:docMk/>
          <pc:sldMk cId="1122616263" sldId="2147375213"/>
        </pc:sldMkLst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686615293" sldId="2147375214"/>
        </pc:sldMkLst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1086474333" sldId="2147375216"/>
        </pc:sldMkLst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4258255620" sldId="2147375217"/>
        </pc:sldMkLst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563280725" sldId="2147375218"/>
        </pc:sldMkLst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2754030924" sldId="2147375219"/>
        </pc:sldMkLst>
      </pc:sldChg>
      <pc:sldChg chg="del">
        <pc:chgData name="Pirone, Chiara" userId="d9d5b965-323f-43ee-9ca8-6b95d06dc7f9" providerId="ADAL" clId="{F95D93EE-FAB6-4FB5-8BEC-D281DC6DC390}" dt="2022-05-12T19:12:17.476" v="426" actId="47"/>
        <pc:sldMkLst>
          <pc:docMk/>
          <pc:sldMk cId="3340529466" sldId="2147375220"/>
        </pc:sldMkLst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1747342608" sldId="2147375221"/>
        </pc:sldMkLst>
      </pc:sldChg>
      <pc:sldChg chg="del">
        <pc:chgData name="Pirone, Chiara" userId="d9d5b965-323f-43ee-9ca8-6b95d06dc7f9" providerId="ADAL" clId="{F95D93EE-FAB6-4FB5-8BEC-D281DC6DC390}" dt="2022-05-12T19:12:10.568" v="425" actId="47"/>
        <pc:sldMkLst>
          <pc:docMk/>
          <pc:sldMk cId="2008220254" sldId="2147375222"/>
        </pc:sldMkLst>
      </pc:sldChg>
      <pc:sldChg chg="del">
        <pc:chgData name="Pirone, Chiara" userId="d9d5b965-323f-43ee-9ca8-6b95d06dc7f9" providerId="ADAL" clId="{F95D93EE-FAB6-4FB5-8BEC-D281DC6DC390}" dt="2022-05-12T19:11:58.324" v="424" actId="47"/>
        <pc:sldMkLst>
          <pc:docMk/>
          <pc:sldMk cId="3138382597" sldId="2147375224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1223552928" sldId="2147375225"/>
        </pc:sldMkLst>
      </pc:sldChg>
      <pc:sldChg chg="del">
        <pc:chgData name="Pirone, Chiara" userId="d9d5b965-323f-43ee-9ca8-6b95d06dc7f9" providerId="ADAL" clId="{F95D93EE-FAB6-4FB5-8BEC-D281DC6DC390}" dt="2022-05-12T19:12:33.324" v="427" actId="47"/>
        <pc:sldMkLst>
          <pc:docMk/>
          <pc:sldMk cId="1242781451" sldId="2147375226"/>
        </pc:sldMkLst>
      </pc:sldChg>
      <pc:sldChg chg="del">
        <pc:chgData name="Pirone, Chiara" userId="d9d5b965-323f-43ee-9ca8-6b95d06dc7f9" providerId="ADAL" clId="{F95D93EE-FAB6-4FB5-8BEC-D281DC6DC390}" dt="2022-05-12T19:12:56.192" v="432" actId="47"/>
        <pc:sldMkLst>
          <pc:docMk/>
          <pc:sldMk cId="2085824860" sldId="2147375227"/>
        </pc:sldMkLst>
      </pc:sldChg>
      <pc:sldChg chg="del">
        <pc:chgData name="Pirone, Chiara" userId="d9d5b965-323f-43ee-9ca8-6b95d06dc7f9" providerId="ADAL" clId="{F95D93EE-FAB6-4FB5-8BEC-D281DC6DC390}" dt="2022-05-12T19:12:56.192" v="432" actId="47"/>
        <pc:sldMkLst>
          <pc:docMk/>
          <pc:sldMk cId="1621788318" sldId="2147375228"/>
        </pc:sldMkLst>
      </pc:sldChg>
      <pc:sldChg chg="del">
        <pc:chgData name="Pirone, Chiara" userId="d9d5b965-323f-43ee-9ca8-6b95d06dc7f9" providerId="ADAL" clId="{F95D93EE-FAB6-4FB5-8BEC-D281DC6DC390}" dt="2022-05-12T19:12:56.192" v="432" actId="47"/>
        <pc:sldMkLst>
          <pc:docMk/>
          <pc:sldMk cId="2696036174" sldId="2147375229"/>
        </pc:sldMkLst>
      </pc:sldChg>
      <pc:sldChg chg="del">
        <pc:chgData name="Pirone, Chiara" userId="d9d5b965-323f-43ee-9ca8-6b95d06dc7f9" providerId="ADAL" clId="{F95D93EE-FAB6-4FB5-8BEC-D281DC6DC390}" dt="2022-05-12T19:12:54.018" v="431" actId="47"/>
        <pc:sldMkLst>
          <pc:docMk/>
          <pc:sldMk cId="3895517921" sldId="2147375230"/>
        </pc:sldMkLst>
      </pc:sldChg>
      <pc:sldChg chg="del">
        <pc:chgData name="Pirone, Chiara" userId="d9d5b965-323f-43ee-9ca8-6b95d06dc7f9" providerId="ADAL" clId="{F95D93EE-FAB6-4FB5-8BEC-D281DC6DC390}" dt="2022-05-12T19:12:54.018" v="431" actId="47"/>
        <pc:sldMkLst>
          <pc:docMk/>
          <pc:sldMk cId="1735004415" sldId="2147375231"/>
        </pc:sldMkLst>
      </pc:sldChg>
      <pc:sldChg chg="del">
        <pc:chgData name="Pirone, Chiara" userId="d9d5b965-323f-43ee-9ca8-6b95d06dc7f9" providerId="ADAL" clId="{F95D93EE-FAB6-4FB5-8BEC-D281DC6DC390}" dt="2022-05-12T19:12:54.018" v="431" actId="47"/>
        <pc:sldMkLst>
          <pc:docMk/>
          <pc:sldMk cId="3785000901" sldId="2147375232"/>
        </pc:sldMkLst>
      </pc:sldChg>
      <pc:sldChg chg="del">
        <pc:chgData name="Pirone, Chiara" userId="d9d5b965-323f-43ee-9ca8-6b95d06dc7f9" providerId="ADAL" clId="{F95D93EE-FAB6-4FB5-8BEC-D281DC6DC390}" dt="2022-05-12T19:12:54.018" v="431" actId="47"/>
        <pc:sldMkLst>
          <pc:docMk/>
          <pc:sldMk cId="809260886" sldId="2147375233"/>
        </pc:sldMkLst>
      </pc:sldChg>
      <pc:sldChg chg="del">
        <pc:chgData name="Pirone, Chiara" userId="d9d5b965-323f-43ee-9ca8-6b95d06dc7f9" providerId="ADAL" clId="{F95D93EE-FAB6-4FB5-8BEC-D281DC6DC390}" dt="2022-05-12T19:12:49.314" v="430" actId="47"/>
        <pc:sldMkLst>
          <pc:docMk/>
          <pc:sldMk cId="2559986212" sldId="2147375234"/>
        </pc:sldMkLst>
      </pc:sldChg>
      <pc:sldChg chg="del">
        <pc:chgData name="Pirone, Chiara" userId="d9d5b965-323f-43ee-9ca8-6b95d06dc7f9" providerId="ADAL" clId="{F95D93EE-FAB6-4FB5-8BEC-D281DC6DC390}" dt="2022-05-12T19:12:49.314" v="430" actId="47"/>
        <pc:sldMkLst>
          <pc:docMk/>
          <pc:sldMk cId="2699430473" sldId="2147375236"/>
        </pc:sldMkLst>
      </pc:sldChg>
      <pc:sldChg chg="del">
        <pc:chgData name="Pirone, Chiara" userId="d9d5b965-323f-43ee-9ca8-6b95d06dc7f9" providerId="ADAL" clId="{F95D93EE-FAB6-4FB5-8BEC-D281DC6DC390}" dt="2022-05-12T18:58:22.730" v="1" actId="47"/>
        <pc:sldMkLst>
          <pc:docMk/>
          <pc:sldMk cId="2322149722" sldId="2147375238"/>
        </pc:sldMkLst>
      </pc:sldChg>
      <pc:sldChg chg="del">
        <pc:chgData name="Pirone, Chiara" userId="d9d5b965-323f-43ee-9ca8-6b95d06dc7f9" providerId="ADAL" clId="{F95D93EE-FAB6-4FB5-8BEC-D281DC6DC390}" dt="2022-05-12T19:12:54.018" v="431" actId="47"/>
        <pc:sldMkLst>
          <pc:docMk/>
          <pc:sldMk cId="206841454" sldId="2147375239"/>
        </pc:sldMkLst>
      </pc:sldChg>
      <pc:sldChg chg="del">
        <pc:chgData name="Pirone, Chiara" userId="d9d5b965-323f-43ee-9ca8-6b95d06dc7f9" providerId="ADAL" clId="{F95D93EE-FAB6-4FB5-8BEC-D281DC6DC390}" dt="2022-05-12T19:12:54.018" v="431" actId="47"/>
        <pc:sldMkLst>
          <pc:docMk/>
          <pc:sldMk cId="1723748845" sldId="2147375240"/>
        </pc:sldMkLst>
      </pc:sldChg>
      <pc:sldChg chg="del">
        <pc:chgData name="Pirone, Chiara" userId="d9d5b965-323f-43ee-9ca8-6b95d06dc7f9" providerId="ADAL" clId="{F95D93EE-FAB6-4FB5-8BEC-D281DC6DC390}" dt="2022-05-12T19:12:54.018" v="431" actId="47"/>
        <pc:sldMkLst>
          <pc:docMk/>
          <pc:sldMk cId="1843527261" sldId="2147375242"/>
        </pc:sldMkLst>
      </pc:sldChg>
      <pc:sldChg chg="del">
        <pc:chgData name="Pirone, Chiara" userId="d9d5b965-323f-43ee-9ca8-6b95d06dc7f9" providerId="ADAL" clId="{F95D93EE-FAB6-4FB5-8BEC-D281DC6DC390}" dt="2022-05-12T19:12:54.018" v="431" actId="47"/>
        <pc:sldMkLst>
          <pc:docMk/>
          <pc:sldMk cId="2477940161" sldId="2147375243"/>
        </pc:sldMkLst>
      </pc:sldChg>
      <pc:sldChg chg="delSp modSp add del mod">
        <pc:chgData name="Pirone, Chiara" userId="d9d5b965-323f-43ee-9ca8-6b95d06dc7f9" providerId="ADAL" clId="{F95D93EE-FAB6-4FB5-8BEC-D281DC6DC390}" dt="2022-05-12T19:10:39.678" v="341" actId="47"/>
        <pc:sldMkLst>
          <pc:docMk/>
          <pc:sldMk cId="3343804408" sldId="2147375244"/>
        </pc:sldMkLst>
        <pc:spChg chg="mod">
          <ac:chgData name="Pirone, Chiara" userId="d9d5b965-323f-43ee-9ca8-6b95d06dc7f9" providerId="ADAL" clId="{F95D93EE-FAB6-4FB5-8BEC-D281DC6DC390}" dt="2022-05-12T19:09:06.602" v="216" actId="20577"/>
          <ac:spMkLst>
            <pc:docMk/>
            <pc:sldMk cId="3343804408" sldId="2147375244"/>
            <ac:spMk id="5" creationId="{71FC05DF-1049-4298-B58D-4B607A3411D2}"/>
          </ac:spMkLst>
        </pc:spChg>
        <pc:spChg chg="del">
          <ac:chgData name="Pirone, Chiara" userId="d9d5b965-323f-43ee-9ca8-6b95d06dc7f9" providerId="ADAL" clId="{F95D93EE-FAB6-4FB5-8BEC-D281DC6DC390}" dt="2022-05-12T19:08:56.683" v="190" actId="478"/>
          <ac:spMkLst>
            <pc:docMk/>
            <pc:sldMk cId="3343804408" sldId="2147375244"/>
            <ac:spMk id="9" creationId="{29F2E4FC-0F75-44E8-BC86-276F317A45C2}"/>
          </ac:spMkLst>
        </pc:spChg>
        <pc:spChg chg="del">
          <ac:chgData name="Pirone, Chiara" userId="d9d5b965-323f-43ee-9ca8-6b95d06dc7f9" providerId="ADAL" clId="{F95D93EE-FAB6-4FB5-8BEC-D281DC6DC390}" dt="2022-05-12T19:08:56.683" v="190" actId="478"/>
          <ac:spMkLst>
            <pc:docMk/>
            <pc:sldMk cId="3343804408" sldId="2147375244"/>
            <ac:spMk id="11" creationId="{7F9B95AF-17CC-4A93-9BB7-04D23ADBF3BF}"/>
          </ac:spMkLst>
        </pc:spChg>
        <pc:spChg chg="del">
          <ac:chgData name="Pirone, Chiara" userId="d9d5b965-323f-43ee-9ca8-6b95d06dc7f9" providerId="ADAL" clId="{F95D93EE-FAB6-4FB5-8BEC-D281DC6DC390}" dt="2022-05-12T19:08:56.683" v="190" actId="478"/>
          <ac:spMkLst>
            <pc:docMk/>
            <pc:sldMk cId="3343804408" sldId="2147375244"/>
            <ac:spMk id="12" creationId="{B4080D46-A063-4AEC-92B1-A2880B57B89A}"/>
          </ac:spMkLst>
        </pc:spChg>
        <pc:spChg chg="del">
          <ac:chgData name="Pirone, Chiara" userId="d9d5b965-323f-43ee-9ca8-6b95d06dc7f9" providerId="ADAL" clId="{F95D93EE-FAB6-4FB5-8BEC-D281DC6DC390}" dt="2022-05-12T19:08:56.683" v="190" actId="478"/>
          <ac:spMkLst>
            <pc:docMk/>
            <pc:sldMk cId="3343804408" sldId="2147375244"/>
            <ac:spMk id="13" creationId="{A4DAF590-3B68-4220-B7EA-816A3F2694C4}"/>
          </ac:spMkLst>
        </pc:spChg>
        <pc:spChg chg="del">
          <ac:chgData name="Pirone, Chiara" userId="d9d5b965-323f-43ee-9ca8-6b95d06dc7f9" providerId="ADAL" clId="{F95D93EE-FAB6-4FB5-8BEC-D281DC6DC390}" dt="2022-05-12T19:08:56.683" v="190" actId="478"/>
          <ac:spMkLst>
            <pc:docMk/>
            <pc:sldMk cId="3343804408" sldId="2147375244"/>
            <ac:spMk id="14" creationId="{D94B092A-A10B-400F-BFB9-BD92B1AC5FE7}"/>
          </ac:spMkLst>
        </pc:spChg>
        <pc:spChg chg="del">
          <ac:chgData name="Pirone, Chiara" userId="d9d5b965-323f-43ee-9ca8-6b95d06dc7f9" providerId="ADAL" clId="{F95D93EE-FAB6-4FB5-8BEC-D281DC6DC390}" dt="2022-05-12T19:08:56.683" v="190" actId="478"/>
          <ac:spMkLst>
            <pc:docMk/>
            <pc:sldMk cId="3343804408" sldId="2147375244"/>
            <ac:spMk id="16" creationId="{89F9CA1E-5806-4CD0-A106-530743F839CD}"/>
          </ac:spMkLst>
        </pc:spChg>
        <pc:spChg chg="del">
          <ac:chgData name="Pirone, Chiara" userId="d9d5b965-323f-43ee-9ca8-6b95d06dc7f9" providerId="ADAL" clId="{F95D93EE-FAB6-4FB5-8BEC-D281DC6DC390}" dt="2022-05-12T19:08:56.683" v="190" actId="478"/>
          <ac:spMkLst>
            <pc:docMk/>
            <pc:sldMk cId="3343804408" sldId="2147375244"/>
            <ac:spMk id="17" creationId="{98E6E25E-3681-4E72-B035-7C1B4B177C46}"/>
          </ac:spMkLst>
        </pc:spChg>
        <pc:spChg chg="del">
          <ac:chgData name="Pirone, Chiara" userId="d9d5b965-323f-43ee-9ca8-6b95d06dc7f9" providerId="ADAL" clId="{F95D93EE-FAB6-4FB5-8BEC-D281DC6DC390}" dt="2022-05-12T19:08:58.370" v="191" actId="478"/>
          <ac:spMkLst>
            <pc:docMk/>
            <pc:sldMk cId="3343804408" sldId="2147375244"/>
            <ac:spMk id="18" creationId="{538C4FF7-EAAB-44D4-986D-5FED3EDFA3D4}"/>
          </ac:spMkLst>
        </pc:spChg>
        <pc:spChg chg="del">
          <ac:chgData name="Pirone, Chiara" userId="d9d5b965-323f-43ee-9ca8-6b95d06dc7f9" providerId="ADAL" clId="{F95D93EE-FAB6-4FB5-8BEC-D281DC6DC390}" dt="2022-05-12T19:08:59.772" v="192" actId="478"/>
          <ac:spMkLst>
            <pc:docMk/>
            <pc:sldMk cId="3343804408" sldId="2147375244"/>
            <ac:spMk id="19" creationId="{9EFCBB44-7A1C-4675-BCF1-DC4F496F158A}"/>
          </ac:spMkLst>
        </pc:spChg>
        <pc:spChg chg="del">
          <ac:chgData name="Pirone, Chiara" userId="d9d5b965-323f-43ee-9ca8-6b95d06dc7f9" providerId="ADAL" clId="{F95D93EE-FAB6-4FB5-8BEC-D281DC6DC390}" dt="2022-05-12T19:08:58.370" v="191" actId="478"/>
          <ac:spMkLst>
            <pc:docMk/>
            <pc:sldMk cId="3343804408" sldId="2147375244"/>
            <ac:spMk id="31" creationId="{C1998E81-ECC6-446B-9A97-2D6260B37A22}"/>
          </ac:spMkLst>
        </pc:spChg>
        <pc:grpChg chg="del">
          <ac:chgData name="Pirone, Chiara" userId="d9d5b965-323f-43ee-9ca8-6b95d06dc7f9" providerId="ADAL" clId="{F95D93EE-FAB6-4FB5-8BEC-D281DC6DC390}" dt="2022-05-12T19:08:56.683" v="190" actId="478"/>
          <ac:grpSpMkLst>
            <pc:docMk/>
            <pc:sldMk cId="3343804408" sldId="2147375244"/>
            <ac:grpSpMk id="41" creationId="{79977DA5-27AE-7946-87B5-E797AC1B21C1}"/>
          </ac:grpSpMkLst>
        </pc:grpChg>
        <pc:picChg chg="del">
          <ac:chgData name="Pirone, Chiara" userId="d9d5b965-323f-43ee-9ca8-6b95d06dc7f9" providerId="ADAL" clId="{F95D93EE-FAB6-4FB5-8BEC-D281DC6DC390}" dt="2022-05-12T19:08:56.683" v="190" actId="478"/>
          <ac:picMkLst>
            <pc:docMk/>
            <pc:sldMk cId="3343804408" sldId="2147375244"/>
            <ac:picMk id="39" creationId="{77AF6685-3D74-9041-9E97-A0671C39BAC6}"/>
          </ac:picMkLst>
        </pc:picChg>
        <pc:picChg chg="del">
          <ac:chgData name="Pirone, Chiara" userId="d9d5b965-323f-43ee-9ca8-6b95d06dc7f9" providerId="ADAL" clId="{F95D93EE-FAB6-4FB5-8BEC-D281DC6DC390}" dt="2022-05-12T19:08:56.683" v="190" actId="478"/>
          <ac:picMkLst>
            <pc:docMk/>
            <pc:sldMk cId="3343804408" sldId="2147375244"/>
            <ac:picMk id="40" creationId="{CF127CDB-7FF2-174D-AFAE-38735794DC3F}"/>
          </ac:picMkLst>
        </pc:picChg>
      </pc:sldChg>
      <pc:sldChg chg="modSp add mod">
        <pc:chgData name="Pirone, Chiara" userId="d9d5b965-323f-43ee-9ca8-6b95d06dc7f9" providerId="ADAL" clId="{F95D93EE-FAB6-4FB5-8BEC-D281DC6DC390}" dt="2022-05-12T19:11:28.523" v="422" actId="20577"/>
        <pc:sldMkLst>
          <pc:docMk/>
          <pc:sldMk cId="2316790740" sldId="2147375245"/>
        </pc:sldMkLst>
        <pc:spChg chg="mod">
          <ac:chgData name="Pirone, Chiara" userId="d9d5b965-323f-43ee-9ca8-6b95d06dc7f9" providerId="ADAL" clId="{F95D93EE-FAB6-4FB5-8BEC-D281DC6DC390}" dt="2022-05-12T19:11:28.523" v="422" actId="20577"/>
          <ac:spMkLst>
            <pc:docMk/>
            <pc:sldMk cId="2316790740" sldId="2147375245"/>
            <ac:spMk id="8" creationId="{EB4663B7-6AFF-4A46-AB51-90B505CFD559}"/>
          </ac:spMkLst>
        </pc:spChg>
      </pc:sldChg>
      <pc:sldChg chg="modSp add mod ord">
        <pc:chgData name="Pirone, Chiara" userId="d9d5b965-323f-43ee-9ca8-6b95d06dc7f9" providerId="ADAL" clId="{F95D93EE-FAB6-4FB5-8BEC-D281DC6DC390}" dt="2022-05-12T19:14:41.144" v="463" actId="20577"/>
        <pc:sldMkLst>
          <pc:docMk/>
          <pc:sldMk cId="1041639984" sldId="2147375246"/>
        </pc:sldMkLst>
        <pc:spChg chg="mod">
          <ac:chgData name="Pirone, Chiara" userId="d9d5b965-323f-43ee-9ca8-6b95d06dc7f9" providerId="ADAL" clId="{F95D93EE-FAB6-4FB5-8BEC-D281DC6DC390}" dt="2022-05-12T19:11:22.019" v="420" actId="20577"/>
          <ac:spMkLst>
            <pc:docMk/>
            <pc:sldMk cId="1041639984" sldId="2147375246"/>
            <ac:spMk id="6" creationId="{35C324C2-282C-544A-A15D-7EDD28437F20}"/>
          </ac:spMkLst>
        </pc:spChg>
        <pc:spChg chg="mod">
          <ac:chgData name="Pirone, Chiara" userId="d9d5b965-323f-43ee-9ca8-6b95d06dc7f9" providerId="ADAL" clId="{F95D93EE-FAB6-4FB5-8BEC-D281DC6DC390}" dt="2022-05-12T19:14:41.144" v="463" actId="20577"/>
          <ac:spMkLst>
            <pc:docMk/>
            <pc:sldMk cId="1041639984" sldId="2147375246"/>
            <ac:spMk id="8" creationId="{EB4663B7-6AFF-4A46-AB51-90B505CFD559}"/>
          </ac:spMkLst>
        </pc:spChg>
      </pc:sldChg>
      <pc:sldChg chg="addSp delSp modSp add mod ord">
        <pc:chgData name="Pirone, Chiara" userId="d9d5b965-323f-43ee-9ca8-6b95d06dc7f9" providerId="ADAL" clId="{F95D93EE-FAB6-4FB5-8BEC-D281DC6DC390}" dt="2022-05-12T19:34:40.363" v="622" actId="1076"/>
        <pc:sldMkLst>
          <pc:docMk/>
          <pc:sldMk cId="3578660289" sldId="2147375247"/>
        </pc:sldMkLst>
        <pc:spChg chg="add del mod">
          <ac:chgData name="Pirone, Chiara" userId="d9d5b965-323f-43ee-9ca8-6b95d06dc7f9" providerId="ADAL" clId="{F95D93EE-FAB6-4FB5-8BEC-D281DC6DC390}" dt="2022-05-12T19:13:05.942" v="435" actId="478"/>
          <ac:spMkLst>
            <pc:docMk/>
            <pc:sldMk cId="3578660289" sldId="2147375247"/>
            <ac:spMk id="3" creationId="{70BF4788-889E-46E3-A16A-268C2EE999F2}"/>
          </ac:spMkLst>
        </pc:spChg>
        <pc:spChg chg="del">
          <ac:chgData name="Pirone, Chiara" userId="d9d5b965-323f-43ee-9ca8-6b95d06dc7f9" providerId="ADAL" clId="{F95D93EE-FAB6-4FB5-8BEC-D281DC6DC390}" dt="2022-05-12T19:13:03.918" v="434" actId="478"/>
          <ac:spMkLst>
            <pc:docMk/>
            <pc:sldMk cId="3578660289" sldId="2147375247"/>
            <ac:spMk id="4" creationId="{901CDE1B-ED7A-437C-8351-9B630706140C}"/>
          </ac:spMkLst>
        </pc:spChg>
        <pc:spChg chg="del">
          <ac:chgData name="Pirone, Chiara" userId="d9d5b965-323f-43ee-9ca8-6b95d06dc7f9" providerId="ADAL" clId="{F95D93EE-FAB6-4FB5-8BEC-D281DC6DC390}" dt="2022-05-12T19:13:03.918" v="434" actId="478"/>
          <ac:spMkLst>
            <pc:docMk/>
            <pc:sldMk cId="3578660289" sldId="2147375247"/>
            <ac:spMk id="6" creationId="{AEF90620-8BD4-42F3-A438-7AAB42A27009}"/>
          </ac:spMkLst>
        </pc:spChg>
        <pc:spChg chg="del">
          <ac:chgData name="Pirone, Chiara" userId="d9d5b965-323f-43ee-9ca8-6b95d06dc7f9" providerId="ADAL" clId="{F95D93EE-FAB6-4FB5-8BEC-D281DC6DC390}" dt="2022-05-12T19:13:03.918" v="434" actId="478"/>
          <ac:spMkLst>
            <pc:docMk/>
            <pc:sldMk cId="3578660289" sldId="2147375247"/>
            <ac:spMk id="9" creationId="{3920D60A-5F28-432F-8765-54586FF64373}"/>
          </ac:spMkLst>
        </pc:spChg>
        <pc:spChg chg="del">
          <ac:chgData name="Pirone, Chiara" userId="d9d5b965-323f-43ee-9ca8-6b95d06dc7f9" providerId="ADAL" clId="{F95D93EE-FAB6-4FB5-8BEC-D281DC6DC390}" dt="2022-05-12T19:13:03.918" v="434" actId="478"/>
          <ac:spMkLst>
            <pc:docMk/>
            <pc:sldMk cId="3578660289" sldId="2147375247"/>
            <ac:spMk id="10" creationId="{74A889C6-84AC-4538-8FEE-D4FE98FF4092}"/>
          </ac:spMkLst>
        </pc:spChg>
        <pc:spChg chg="del">
          <ac:chgData name="Pirone, Chiara" userId="d9d5b965-323f-43ee-9ca8-6b95d06dc7f9" providerId="ADAL" clId="{F95D93EE-FAB6-4FB5-8BEC-D281DC6DC390}" dt="2022-05-12T19:13:03.918" v="434" actId="478"/>
          <ac:spMkLst>
            <pc:docMk/>
            <pc:sldMk cId="3578660289" sldId="2147375247"/>
            <ac:spMk id="11" creationId="{B4C5DC21-DAA5-4368-B54C-B1DD76B5D9B7}"/>
          </ac:spMkLst>
        </pc:spChg>
        <pc:spChg chg="del">
          <ac:chgData name="Pirone, Chiara" userId="d9d5b965-323f-43ee-9ca8-6b95d06dc7f9" providerId="ADAL" clId="{F95D93EE-FAB6-4FB5-8BEC-D281DC6DC390}" dt="2022-05-12T19:13:03.918" v="434" actId="478"/>
          <ac:spMkLst>
            <pc:docMk/>
            <pc:sldMk cId="3578660289" sldId="2147375247"/>
            <ac:spMk id="12" creationId="{699C3C0D-0D3D-4367-AEC3-635A1F90236E}"/>
          </ac:spMkLst>
        </pc:spChg>
        <pc:spChg chg="del">
          <ac:chgData name="Pirone, Chiara" userId="d9d5b965-323f-43ee-9ca8-6b95d06dc7f9" providerId="ADAL" clId="{F95D93EE-FAB6-4FB5-8BEC-D281DC6DC390}" dt="2022-05-12T19:13:03.918" v="434" actId="478"/>
          <ac:spMkLst>
            <pc:docMk/>
            <pc:sldMk cId="3578660289" sldId="2147375247"/>
            <ac:spMk id="13" creationId="{B84A9A67-8546-45FC-9156-EA7EB278A3A0}"/>
          </ac:spMkLst>
        </pc:spChg>
        <pc:spChg chg="del">
          <ac:chgData name="Pirone, Chiara" userId="d9d5b965-323f-43ee-9ca8-6b95d06dc7f9" providerId="ADAL" clId="{F95D93EE-FAB6-4FB5-8BEC-D281DC6DC390}" dt="2022-05-12T19:13:03.918" v="434" actId="478"/>
          <ac:spMkLst>
            <pc:docMk/>
            <pc:sldMk cId="3578660289" sldId="2147375247"/>
            <ac:spMk id="14" creationId="{36EA4F77-AF04-4EAD-B964-AED780C9CE6F}"/>
          </ac:spMkLst>
        </pc:spChg>
        <pc:spChg chg="del">
          <ac:chgData name="Pirone, Chiara" userId="d9d5b965-323f-43ee-9ca8-6b95d06dc7f9" providerId="ADAL" clId="{F95D93EE-FAB6-4FB5-8BEC-D281DC6DC390}" dt="2022-05-12T19:13:03.918" v="434" actId="478"/>
          <ac:spMkLst>
            <pc:docMk/>
            <pc:sldMk cId="3578660289" sldId="2147375247"/>
            <ac:spMk id="15" creationId="{99AF85BB-A4CA-4514-98CC-2DC42BBCE6C8}"/>
          </ac:spMkLst>
        </pc:spChg>
        <pc:spChg chg="del">
          <ac:chgData name="Pirone, Chiara" userId="d9d5b965-323f-43ee-9ca8-6b95d06dc7f9" providerId="ADAL" clId="{F95D93EE-FAB6-4FB5-8BEC-D281DC6DC390}" dt="2022-05-12T19:13:03.918" v="434" actId="478"/>
          <ac:spMkLst>
            <pc:docMk/>
            <pc:sldMk cId="3578660289" sldId="2147375247"/>
            <ac:spMk id="18" creationId="{03A52D48-F07E-4316-BC41-8DDC8D02D01E}"/>
          </ac:spMkLst>
        </pc:spChg>
        <pc:spChg chg="del">
          <ac:chgData name="Pirone, Chiara" userId="d9d5b965-323f-43ee-9ca8-6b95d06dc7f9" providerId="ADAL" clId="{F95D93EE-FAB6-4FB5-8BEC-D281DC6DC390}" dt="2022-05-12T19:13:03.918" v="434" actId="478"/>
          <ac:spMkLst>
            <pc:docMk/>
            <pc:sldMk cId="3578660289" sldId="2147375247"/>
            <ac:spMk id="19" creationId="{A1AD257E-071F-FC45-A068-852D223AFEFB}"/>
          </ac:spMkLst>
        </pc:spChg>
        <pc:spChg chg="del">
          <ac:chgData name="Pirone, Chiara" userId="d9d5b965-323f-43ee-9ca8-6b95d06dc7f9" providerId="ADAL" clId="{F95D93EE-FAB6-4FB5-8BEC-D281DC6DC390}" dt="2022-05-12T19:13:03.918" v="434" actId="478"/>
          <ac:spMkLst>
            <pc:docMk/>
            <pc:sldMk cId="3578660289" sldId="2147375247"/>
            <ac:spMk id="21" creationId="{C89F0D81-3C10-4D6B-AE4F-9193EB9186A4}"/>
          </ac:spMkLst>
        </pc:spChg>
        <pc:spChg chg="add mod">
          <ac:chgData name="Pirone, Chiara" userId="d9d5b965-323f-43ee-9ca8-6b95d06dc7f9" providerId="ADAL" clId="{F95D93EE-FAB6-4FB5-8BEC-D281DC6DC390}" dt="2022-05-12T19:34:40.363" v="622" actId="1076"/>
          <ac:spMkLst>
            <pc:docMk/>
            <pc:sldMk cId="3578660289" sldId="2147375247"/>
            <ac:spMk id="24" creationId="{9EEF4B26-7261-4FFA-8729-4DB996343658}"/>
          </ac:spMkLst>
        </pc:spChg>
        <pc:picChg chg="del">
          <ac:chgData name="Pirone, Chiara" userId="d9d5b965-323f-43ee-9ca8-6b95d06dc7f9" providerId="ADAL" clId="{F95D93EE-FAB6-4FB5-8BEC-D281DC6DC390}" dt="2022-05-12T19:13:03.918" v="434" actId="478"/>
          <ac:picMkLst>
            <pc:docMk/>
            <pc:sldMk cId="3578660289" sldId="2147375247"/>
            <ac:picMk id="20" creationId="{B44E33F8-9EE3-41A8-8C21-1221FCE4F093}"/>
          </ac:picMkLst>
        </pc:picChg>
        <pc:cxnChg chg="del">
          <ac:chgData name="Pirone, Chiara" userId="d9d5b965-323f-43ee-9ca8-6b95d06dc7f9" providerId="ADAL" clId="{F95D93EE-FAB6-4FB5-8BEC-D281DC6DC390}" dt="2022-05-12T19:13:03.918" v="434" actId="478"/>
          <ac:cxnSpMkLst>
            <pc:docMk/>
            <pc:sldMk cId="3578660289" sldId="2147375247"/>
            <ac:cxnSpMk id="23" creationId="{82B50B84-E1DE-4394-9487-C4195D34F0D7}"/>
          </ac:cxnSpMkLst>
        </pc:cxnChg>
      </pc:sldChg>
      <pc:sldChg chg="add">
        <pc:chgData name="Pirone, Chiara" userId="d9d5b965-323f-43ee-9ca8-6b95d06dc7f9" providerId="ADAL" clId="{F95D93EE-FAB6-4FB5-8BEC-D281DC6DC390}" dt="2022-05-12T19:13:08.457" v="438"/>
        <pc:sldMkLst>
          <pc:docMk/>
          <pc:sldMk cId="3802268666" sldId="2147375248"/>
        </pc:sldMkLst>
      </pc:sldChg>
      <pc:sldChg chg="modSp add mod ord">
        <pc:chgData name="Pirone, Chiara" userId="d9d5b965-323f-43ee-9ca8-6b95d06dc7f9" providerId="ADAL" clId="{F95D93EE-FAB6-4FB5-8BEC-D281DC6DC390}" dt="2022-05-12T19:13:19.815" v="461" actId="20577"/>
        <pc:sldMkLst>
          <pc:docMk/>
          <pc:sldMk cId="914579914" sldId="2147375249"/>
        </pc:sldMkLst>
        <pc:spChg chg="mod">
          <ac:chgData name="Pirone, Chiara" userId="d9d5b965-323f-43ee-9ca8-6b95d06dc7f9" providerId="ADAL" clId="{F95D93EE-FAB6-4FB5-8BEC-D281DC6DC390}" dt="2022-05-12T19:13:19.815" v="461" actId="20577"/>
          <ac:spMkLst>
            <pc:docMk/>
            <pc:sldMk cId="914579914" sldId="2147375249"/>
            <ac:spMk id="6" creationId="{35C324C2-282C-544A-A15D-7EDD28437F20}"/>
          </ac:spMkLst>
        </pc:spChg>
        <pc:spChg chg="mod">
          <ac:chgData name="Pirone, Chiara" userId="d9d5b965-323f-43ee-9ca8-6b95d06dc7f9" providerId="ADAL" clId="{F95D93EE-FAB6-4FB5-8BEC-D281DC6DC390}" dt="2022-05-12T19:13:14.040" v="443" actId="20577"/>
          <ac:spMkLst>
            <pc:docMk/>
            <pc:sldMk cId="914579914" sldId="2147375249"/>
            <ac:spMk id="8" creationId="{EB4663B7-6AFF-4A46-AB51-90B505CFD559}"/>
          </ac:spMkLst>
        </pc:spChg>
      </pc:sldChg>
      <pc:sldChg chg="delSp add">
        <pc:chgData name="Pirone, Chiara" userId="d9d5b965-323f-43ee-9ca8-6b95d06dc7f9" providerId="ADAL" clId="{F95D93EE-FAB6-4FB5-8BEC-D281DC6DC390}" dt="2022-05-12T19:27:58.019" v="465" actId="478"/>
        <pc:sldMkLst>
          <pc:docMk/>
          <pc:sldMk cId="339918246" sldId="2147375250"/>
        </pc:sldMkLst>
        <pc:spChg chg="del">
          <ac:chgData name="Pirone, Chiara" userId="d9d5b965-323f-43ee-9ca8-6b95d06dc7f9" providerId="ADAL" clId="{F95D93EE-FAB6-4FB5-8BEC-D281DC6DC390}" dt="2022-05-12T19:27:58.019" v="465" actId="478"/>
          <ac:spMkLst>
            <pc:docMk/>
            <pc:sldMk cId="339918246" sldId="2147375250"/>
            <ac:spMk id="9" creationId="{29F2E4FC-0F75-44E8-BC86-276F317A45C2}"/>
          </ac:spMkLst>
        </pc:spChg>
        <pc:spChg chg="del">
          <ac:chgData name="Pirone, Chiara" userId="d9d5b965-323f-43ee-9ca8-6b95d06dc7f9" providerId="ADAL" clId="{F95D93EE-FAB6-4FB5-8BEC-D281DC6DC390}" dt="2022-05-12T19:27:58.019" v="465" actId="478"/>
          <ac:spMkLst>
            <pc:docMk/>
            <pc:sldMk cId="339918246" sldId="2147375250"/>
            <ac:spMk id="11" creationId="{7F9B95AF-17CC-4A93-9BB7-04D23ADBF3BF}"/>
          </ac:spMkLst>
        </pc:spChg>
        <pc:spChg chg="del">
          <ac:chgData name="Pirone, Chiara" userId="d9d5b965-323f-43ee-9ca8-6b95d06dc7f9" providerId="ADAL" clId="{F95D93EE-FAB6-4FB5-8BEC-D281DC6DC390}" dt="2022-05-12T19:27:58.019" v="465" actId="478"/>
          <ac:spMkLst>
            <pc:docMk/>
            <pc:sldMk cId="339918246" sldId="2147375250"/>
            <ac:spMk id="12" creationId="{B4080D46-A063-4AEC-92B1-A2880B57B89A}"/>
          </ac:spMkLst>
        </pc:spChg>
        <pc:spChg chg="del">
          <ac:chgData name="Pirone, Chiara" userId="d9d5b965-323f-43ee-9ca8-6b95d06dc7f9" providerId="ADAL" clId="{F95D93EE-FAB6-4FB5-8BEC-D281DC6DC390}" dt="2022-05-12T19:27:58.019" v="465" actId="478"/>
          <ac:spMkLst>
            <pc:docMk/>
            <pc:sldMk cId="339918246" sldId="2147375250"/>
            <ac:spMk id="13" creationId="{A4DAF590-3B68-4220-B7EA-816A3F2694C4}"/>
          </ac:spMkLst>
        </pc:spChg>
        <pc:spChg chg="del">
          <ac:chgData name="Pirone, Chiara" userId="d9d5b965-323f-43ee-9ca8-6b95d06dc7f9" providerId="ADAL" clId="{F95D93EE-FAB6-4FB5-8BEC-D281DC6DC390}" dt="2022-05-12T19:27:58.019" v="465" actId="478"/>
          <ac:spMkLst>
            <pc:docMk/>
            <pc:sldMk cId="339918246" sldId="2147375250"/>
            <ac:spMk id="14" creationId="{D94B092A-A10B-400F-BFB9-BD92B1AC5FE7}"/>
          </ac:spMkLst>
        </pc:spChg>
        <pc:spChg chg="del">
          <ac:chgData name="Pirone, Chiara" userId="d9d5b965-323f-43ee-9ca8-6b95d06dc7f9" providerId="ADAL" clId="{F95D93EE-FAB6-4FB5-8BEC-D281DC6DC390}" dt="2022-05-12T19:27:58.019" v="465" actId="478"/>
          <ac:spMkLst>
            <pc:docMk/>
            <pc:sldMk cId="339918246" sldId="2147375250"/>
            <ac:spMk id="16" creationId="{89F9CA1E-5806-4CD0-A106-530743F839CD}"/>
          </ac:spMkLst>
        </pc:spChg>
        <pc:spChg chg="del">
          <ac:chgData name="Pirone, Chiara" userId="d9d5b965-323f-43ee-9ca8-6b95d06dc7f9" providerId="ADAL" clId="{F95D93EE-FAB6-4FB5-8BEC-D281DC6DC390}" dt="2022-05-12T19:27:58.019" v="465" actId="478"/>
          <ac:spMkLst>
            <pc:docMk/>
            <pc:sldMk cId="339918246" sldId="2147375250"/>
            <ac:spMk id="17" creationId="{98E6E25E-3681-4E72-B035-7C1B4B177C46}"/>
          </ac:spMkLst>
        </pc:spChg>
        <pc:spChg chg="del">
          <ac:chgData name="Pirone, Chiara" userId="d9d5b965-323f-43ee-9ca8-6b95d06dc7f9" providerId="ADAL" clId="{F95D93EE-FAB6-4FB5-8BEC-D281DC6DC390}" dt="2022-05-12T19:27:58.019" v="465" actId="478"/>
          <ac:spMkLst>
            <pc:docMk/>
            <pc:sldMk cId="339918246" sldId="2147375250"/>
            <ac:spMk id="18" creationId="{538C4FF7-EAAB-44D4-986D-5FED3EDFA3D4}"/>
          </ac:spMkLst>
        </pc:spChg>
        <pc:spChg chg="del">
          <ac:chgData name="Pirone, Chiara" userId="d9d5b965-323f-43ee-9ca8-6b95d06dc7f9" providerId="ADAL" clId="{F95D93EE-FAB6-4FB5-8BEC-D281DC6DC390}" dt="2022-05-12T19:27:58.019" v="465" actId="478"/>
          <ac:spMkLst>
            <pc:docMk/>
            <pc:sldMk cId="339918246" sldId="2147375250"/>
            <ac:spMk id="31" creationId="{C1998E81-ECC6-446B-9A97-2D6260B37A22}"/>
          </ac:spMkLst>
        </pc:spChg>
        <pc:grpChg chg="del">
          <ac:chgData name="Pirone, Chiara" userId="d9d5b965-323f-43ee-9ca8-6b95d06dc7f9" providerId="ADAL" clId="{F95D93EE-FAB6-4FB5-8BEC-D281DC6DC390}" dt="2022-05-12T19:27:58.019" v="465" actId="478"/>
          <ac:grpSpMkLst>
            <pc:docMk/>
            <pc:sldMk cId="339918246" sldId="2147375250"/>
            <ac:grpSpMk id="41" creationId="{79977DA5-27AE-7946-87B5-E797AC1B21C1}"/>
          </ac:grpSpMkLst>
        </pc:grpChg>
        <pc:picChg chg="del">
          <ac:chgData name="Pirone, Chiara" userId="d9d5b965-323f-43ee-9ca8-6b95d06dc7f9" providerId="ADAL" clId="{F95D93EE-FAB6-4FB5-8BEC-D281DC6DC390}" dt="2022-05-12T19:27:58.019" v="465" actId="478"/>
          <ac:picMkLst>
            <pc:docMk/>
            <pc:sldMk cId="339918246" sldId="2147375250"/>
            <ac:picMk id="39" creationId="{77AF6685-3D74-9041-9E97-A0671C39BAC6}"/>
          </ac:picMkLst>
        </pc:picChg>
        <pc:picChg chg="del">
          <ac:chgData name="Pirone, Chiara" userId="d9d5b965-323f-43ee-9ca8-6b95d06dc7f9" providerId="ADAL" clId="{F95D93EE-FAB6-4FB5-8BEC-D281DC6DC390}" dt="2022-05-12T19:27:58.019" v="465" actId="478"/>
          <ac:picMkLst>
            <pc:docMk/>
            <pc:sldMk cId="339918246" sldId="2147375250"/>
            <ac:picMk id="40" creationId="{CF127CDB-7FF2-174D-AFAE-38735794DC3F}"/>
          </ac:picMkLst>
        </pc:picChg>
      </pc:sldChg>
      <pc:sldMasterChg chg="delSldLayout">
        <pc:chgData name="Pirone, Chiara" userId="d9d5b965-323f-43ee-9ca8-6b95d06dc7f9" providerId="ADAL" clId="{F95D93EE-FAB6-4FB5-8BEC-D281DC6DC390}" dt="2022-05-12T19:08:53.863" v="189" actId="47"/>
        <pc:sldMasterMkLst>
          <pc:docMk/>
          <pc:sldMasterMk cId="1710214691" sldId="2147483667"/>
        </pc:sldMasterMkLst>
        <pc:sldLayoutChg chg="del">
          <pc:chgData name="Pirone, Chiara" userId="d9d5b965-323f-43ee-9ca8-6b95d06dc7f9" providerId="ADAL" clId="{F95D93EE-FAB6-4FB5-8BEC-D281DC6DC390}" dt="2022-05-12T19:08:53.863" v="189" actId="47"/>
          <pc:sldLayoutMkLst>
            <pc:docMk/>
            <pc:sldMasterMk cId="1710214691" sldId="2147483667"/>
            <pc:sldLayoutMk cId="325798750" sldId="2147483716"/>
          </pc:sldLayoutMkLst>
        </pc:sldLayoutChg>
      </pc:sldMasterChg>
    </pc:docChg>
  </pc:docChgLst>
  <pc:docChgLst>
    <pc:chgData name="Pirone, Chiara" userId="d9d5b965-323f-43ee-9ca8-6b95d06dc7f9" providerId="ADAL" clId="{D6FD190B-0AD7-48B5-A7C3-61D89E33AA8A}"/>
    <pc:docChg chg="modSld">
      <pc:chgData name="Pirone, Chiara" userId="d9d5b965-323f-43ee-9ca8-6b95d06dc7f9" providerId="ADAL" clId="{D6FD190B-0AD7-48B5-A7C3-61D89E33AA8A}" dt="2022-04-07T13:25:10.414" v="0" actId="1036"/>
      <pc:docMkLst>
        <pc:docMk/>
      </pc:docMkLst>
      <pc:sldChg chg="modSp mod">
        <pc:chgData name="Pirone, Chiara" userId="d9d5b965-323f-43ee-9ca8-6b95d06dc7f9" providerId="ADAL" clId="{D6FD190B-0AD7-48B5-A7C3-61D89E33AA8A}" dt="2022-04-07T13:25:10.414" v="0" actId="1036"/>
        <pc:sldMkLst>
          <pc:docMk/>
          <pc:sldMk cId="2009457684" sldId="2146848130"/>
        </pc:sldMkLst>
        <pc:spChg chg="mod">
          <ac:chgData name="Pirone, Chiara" userId="d9d5b965-323f-43ee-9ca8-6b95d06dc7f9" providerId="ADAL" clId="{D6FD190B-0AD7-48B5-A7C3-61D89E33AA8A}" dt="2022-04-07T13:25:10.414" v="0" actId="1036"/>
          <ac:spMkLst>
            <pc:docMk/>
            <pc:sldMk cId="2009457684" sldId="2146848130"/>
            <ac:spMk id="33" creationId="{6B17D692-B16F-486D-9767-0A2CE5F2E4F1}"/>
          </ac:spMkLst>
        </pc:spChg>
      </pc:sldChg>
    </pc:docChg>
  </pc:docChgLst>
  <pc:docChgLst>
    <pc:chgData name="Buccolo, Rossella" userId="7ea56d98-1431-499e-adef-028e8c0a1181" providerId="ADAL" clId="{F2F04915-AD79-4957-B2EE-750DA93A56B0}"/>
    <pc:docChg chg="modSld">
      <pc:chgData name="Buccolo, Rossella" userId="7ea56d98-1431-499e-adef-028e8c0a1181" providerId="ADAL" clId="{F2F04915-AD79-4957-B2EE-750DA93A56B0}" dt="2021-09-14T18:37:27.665" v="29" actId="20577"/>
      <pc:docMkLst>
        <pc:docMk/>
      </pc:docMkLst>
      <pc:sldChg chg="modSp mod">
        <pc:chgData name="Buccolo, Rossella" userId="7ea56d98-1431-499e-adef-028e8c0a1181" providerId="ADAL" clId="{F2F04915-AD79-4957-B2EE-750DA93A56B0}" dt="2021-09-14T18:36:23.242" v="7" actId="20577"/>
        <pc:sldMkLst>
          <pc:docMk/>
          <pc:sldMk cId="2387388031" sldId="2147375119"/>
        </pc:sldMkLst>
        <pc:spChg chg="mod">
          <ac:chgData name="Buccolo, Rossella" userId="7ea56d98-1431-499e-adef-028e8c0a1181" providerId="ADAL" clId="{F2F04915-AD79-4957-B2EE-750DA93A56B0}" dt="2021-09-14T18:36:23.242" v="7" actId="20577"/>
          <ac:spMkLst>
            <pc:docMk/>
            <pc:sldMk cId="2387388031" sldId="2147375119"/>
            <ac:spMk id="32" creationId="{D21C9DED-B3AC-41AE-9A73-3BC930A6FAD2}"/>
          </ac:spMkLst>
        </pc:spChg>
        <pc:spChg chg="mod">
          <ac:chgData name="Buccolo, Rossella" userId="7ea56d98-1431-499e-adef-028e8c0a1181" providerId="ADAL" clId="{F2F04915-AD79-4957-B2EE-750DA93A56B0}" dt="2021-09-14T18:36:16.122" v="2" actId="20577"/>
          <ac:spMkLst>
            <pc:docMk/>
            <pc:sldMk cId="2387388031" sldId="2147375119"/>
            <ac:spMk id="33" creationId="{316BC4DE-92FF-4D18-AD6E-35539358BA3C}"/>
          </ac:spMkLst>
        </pc:spChg>
      </pc:sldChg>
      <pc:sldChg chg="modSp mod">
        <pc:chgData name="Buccolo, Rossella" userId="7ea56d98-1431-499e-adef-028e8c0a1181" providerId="ADAL" clId="{F2F04915-AD79-4957-B2EE-750DA93A56B0}" dt="2021-09-14T18:36:42.659" v="13" actId="20577"/>
        <pc:sldMkLst>
          <pc:docMk/>
          <pc:sldMk cId="1527442387" sldId="2147375127"/>
        </pc:sldMkLst>
        <pc:spChg chg="mod">
          <ac:chgData name="Buccolo, Rossella" userId="7ea56d98-1431-499e-adef-028e8c0a1181" providerId="ADAL" clId="{F2F04915-AD79-4957-B2EE-750DA93A56B0}" dt="2021-09-14T18:36:42.659" v="13" actId="20577"/>
          <ac:spMkLst>
            <pc:docMk/>
            <pc:sldMk cId="1527442387" sldId="2147375127"/>
            <ac:spMk id="17" creationId="{16BE96D1-3E9E-42F6-9C9C-BF69E2365C02}"/>
          </ac:spMkLst>
        </pc:spChg>
        <pc:spChg chg="mod">
          <ac:chgData name="Buccolo, Rossella" userId="7ea56d98-1431-499e-adef-028e8c0a1181" providerId="ADAL" clId="{F2F04915-AD79-4957-B2EE-750DA93A56B0}" dt="2021-09-14T18:36:38.735" v="10" actId="20577"/>
          <ac:spMkLst>
            <pc:docMk/>
            <pc:sldMk cId="1527442387" sldId="2147375127"/>
            <ac:spMk id="18" creationId="{D1808C4E-E5E9-4B53-994F-4F09DCB63A69}"/>
          </ac:spMkLst>
        </pc:spChg>
      </pc:sldChg>
      <pc:sldChg chg="modSp mod">
        <pc:chgData name="Buccolo, Rossella" userId="7ea56d98-1431-499e-adef-028e8c0a1181" providerId="ADAL" clId="{F2F04915-AD79-4957-B2EE-750DA93A56B0}" dt="2021-09-14T18:36:55.056" v="19" actId="20577"/>
        <pc:sldMkLst>
          <pc:docMk/>
          <pc:sldMk cId="2160538873" sldId="2147375129"/>
        </pc:sldMkLst>
        <pc:spChg chg="mod">
          <ac:chgData name="Buccolo, Rossella" userId="7ea56d98-1431-499e-adef-028e8c0a1181" providerId="ADAL" clId="{F2F04915-AD79-4957-B2EE-750DA93A56B0}" dt="2021-09-14T18:36:55.056" v="19" actId="20577"/>
          <ac:spMkLst>
            <pc:docMk/>
            <pc:sldMk cId="2160538873" sldId="2147375129"/>
            <ac:spMk id="19" creationId="{00041FBB-3E26-4015-A838-71EEFD8F7516}"/>
          </ac:spMkLst>
        </pc:spChg>
        <pc:spChg chg="mod">
          <ac:chgData name="Buccolo, Rossella" userId="7ea56d98-1431-499e-adef-028e8c0a1181" providerId="ADAL" clId="{F2F04915-AD79-4957-B2EE-750DA93A56B0}" dt="2021-09-14T18:36:51.397" v="16" actId="6549"/>
          <ac:spMkLst>
            <pc:docMk/>
            <pc:sldMk cId="2160538873" sldId="2147375129"/>
            <ac:spMk id="20" creationId="{CA1281DB-78DB-4876-8B87-E498D17CC0E1}"/>
          </ac:spMkLst>
        </pc:spChg>
      </pc:sldChg>
      <pc:sldChg chg="modSp mod">
        <pc:chgData name="Buccolo, Rossella" userId="7ea56d98-1431-499e-adef-028e8c0a1181" providerId="ADAL" clId="{F2F04915-AD79-4957-B2EE-750DA93A56B0}" dt="2021-09-14T18:37:16.563" v="25" actId="20577"/>
        <pc:sldMkLst>
          <pc:docMk/>
          <pc:sldMk cId="4141341777" sldId="2147375131"/>
        </pc:sldMkLst>
        <pc:spChg chg="mod">
          <ac:chgData name="Buccolo, Rossella" userId="7ea56d98-1431-499e-adef-028e8c0a1181" providerId="ADAL" clId="{F2F04915-AD79-4957-B2EE-750DA93A56B0}" dt="2021-09-14T18:37:11.353" v="22" actId="20577"/>
          <ac:spMkLst>
            <pc:docMk/>
            <pc:sldMk cId="4141341777" sldId="2147375131"/>
            <ac:spMk id="17" creationId="{17AE4492-9CBD-485C-8A67-38A1740F61AF}"/>
          </ac:spMkLst>
        </pc:spChg>
        <pc:spChg chg="mod">
          <ac:chgData name="Buccolo, Rossella" userId="7ea56d98-1431-499e-adef-028e8c0a1181" providerId="ADAL" clId="{F2F04915-AD79-4957-B2EE-750DA93A56B0}" dt="2021-09-14T18:37:16.563" v="25" actId="20577"/>
          <ac:spMkLst>
            <pc:docMk/>
            <pc:sldMk cId="4141341777" sldId="2147375131"/>
            <ac:spMk id="23" creationId="{7E712F6C-76BC-4E49-9F59-AABED8BFCAC5}"/>
          </ac:spMkLst>
        </pc:spChg>
      </pc:sldChg>
      <pc:sldChg chg="modSp mod">
        <pc:chgData name="Buccolo, Rossella" userId="7ea56d98-1431-499e-adef-028e8c0a1181" providerId="ADAL" clId="{F2F04915-AD79-4957-B2EE-750DA93A56B0}" dt="2021-09-14T18:37:27.665" v="29" actId="20577"/>
        <pc:sldMkLst>
          <pc:docMk/>
          <pc:sldMk cId="1336763680" sldId="2147375132"/>
        </pc:sldMkLst>
        <pc:spChg chg="mod">
          <ac:chgData name="Buccolo, Rossella" userId="7ea56d98-1431-499e-adef-028e8c0a1181" providerId="ADAL" clId="{F2F04915-AD79-4957-B2EE-750DA93A56B0}" dt="2021-09-14T18:37:23.849" v="28" actId="20577"/>
          <ac:spMkLst>
            <pc:docMk/>
            <pc:sldMk cId="1336763680" sldId="2147375132"/>
            <ac:spMk id="15" creationId="{99AF85BB-A4CA-4514-98CC-2DC42BBCE6C8}"/>
          </ac:spMkLst>
        </pc:spChg>
        <pc:spChg chg="mod">
          <ac:chgData name="Buccolo, Rossella" userId="7ea56d98-1431-499e-adef-028e8c0a1181" providerId="ADAL" clId="{F2F04915-AD79-4957-B2EE-750DA93A56B0}" dt="2021-09-14T18:37:27.665" v="29" actId="20577"/>
          <ac:spMkLst>
            <pc:docMk/>
            <pc:sldMk cId="1336763680" sldId="2147375132"/>
            <ac:spMk id="19" creationId="{A1AD257E-071F-FC45-A068-852D223AFEFB}"/>
          </ac:spMkLst>
        </pc:spChg>
      </pc:sldChg>
    </pc:docChg>
  </pc:docChgLst>
  <pc:docChgLst>
    <pc:chgData name="Sera, Marco" userId="a94d3ed1-5154-44e4-856d-da6bb2b4e1f5" providerId="ADAL" clId="{13716B2C-99BD-42DE-800D-0CADB5CDCBA2}"/>
    <pc:docChg chg="undo custSel addSld delSld modSld">
      <pc:chgData name="Sera, Marco" userId="a94d3ed1-5154-44e4-856d-da6bb2b4e1f5" providerId="ADAL" clId="{13716B2C-99BD-42DE-800D-0CADB5CDCBA2}" dt="2021-09-20T10:02:40.500" v="36"/>
      <pc:docMkLst>
        <pc:docMk/>
      </pc:docMkLst>
      <pc:sldChg chg="addSp delSp modSp mod">
        <pc:chgData name="Sera, Marco" userId="a94d3ed1-5154-44e4-856d-da6bb2b4e1f5" providerId="ADAL" clId="{13716B2C-99BD-42DE-800D-0CADB5CDCBA2}" dt="2021-09-20T10:02:34" v="30" actId="478"/>
        <pc:sldMkLst>
          <pc:docMk/>
          <pc:sldMk cId="3045794359" sldId="2147375189"/>
        </pc:sldMkLst>
        <pc:spChg chg="add del mod">
          <ac:chgData name="Sera, Marco" userId="a94d3ed1-5154-44e4-856d-da6bb2b4e1f5" providerId="ADAL" clId="{13716B2C-99BD-42DE-800D-0CADB5CDCBA2}" dt="2021-09-20T10:02:34" v="30" actId="478"/>
          <ac:spMkLst>
            <pc:docMk/>
            <pc:sldMk cId="3045794359" sldId="2147375189"/>
            <ac:spMk id="3" creationId="{1A7FBE50-EEEF-47EF-84DE-CE07A4FE5A71}"/>
          </ac:spMkLst>
        </pc:spChg>
        <pc:spChg chg="add del">
          <ac:chgData name="Sera, Marco" userId="a94d3ed1-5154-44e4-856d-da6bb2b4e1f5" providerId="ADAL" clId="{13716B2C-99BD-42DE-800D-0CADB5CDCBA2}" dt="2021-09-20T10:02:34" v="30" actId="478"/>
          <ac:spMkLst>
            <pc:docMk/>
            <pc:sldMk cId="3045794359" sldId="2147375189"/>
            <ac:spMk id="5" creationId="{3256DFC3-EA90-4F46-B018-6DF569A6E337}"/>
          </ac:spMkLst>
        </pc:spChg>
      </pc:sldChg>
      <pc:sldChg chg="modSp mod">
        <pc:chgData name="Sera, Marco" userId="a94d3ed1-5154-44e4-856d-da6bb2b4e1f5" providerId="ADAL" clId="{13716B2C-99BD-42DE-800D-0CADB5CDCBA2}" dt="2021-09-15T12:59:25.877" v="5" actId="1076"/>
        <pc:sldMkLst>
          <pc:docMk/>
          <pc:sldMk cId="1315222392" sldId="2147375199"/>
        </pc:sldMkLst>
        <pc:spChg chg="mod">
          <ac:chgData name="Sera, Marco" userId="a94d3ed1-5154-44e4-856d-da6bb2b4e1f5" providerId="ADAL" clId="{13716B2C-99BD-42DE-800D-0CADB5CDCBA2}" dt="2021-09-15T12:59:25.877" v="5" actId="1076"/>
          <ac:spMkLst>
            <pc:docMk/>
            <pc:sldMk cId="1315222392" sldId="2147375199"/>
            <ac:spMk id="8" creationId="{765421BE-5F84-4D1A-87B8-6D38F23FB731}"/>
          </ac:spMkLst>
        </pc:spChg>
        <pc:spChg chg="mod">
          <ac:chgData name="Sera, Marco" userId="a94d3ed1-5154-44e4-856d-da6bb2b4e1f5" providerId="ADAL" clId="{13716B2C-99BD-42DE-800D-0CADB5CDCBA2}" dt="2021-09-15T12:58:24.924" v="3" actId="13926"/>
          <ac:spMkLst>
            <pc:docMk/>
            <pc:sldMk cId="1315222392" sldId="2147375199"/>
            <ac:spMk id="14" creationId="{B901F76B-E3D8-40AC-BBCE-5520D657365E}"/>
          </ac:spMkLst>
        </pc:spChg>
        <pc:spChg chg="mod">
          <ac:chgData name="Sera, Marco" userId="a94d3ed1-5154-44e4-856d-da6bb2b4e1f5" providerId="ADAL" clId="{13716B2C-99BD-42DE-800D-0CADB5CDCBA2}" dt="2021-09-15T12:58:07.825" v="2" actId="20577"/>
          <ac:spMkLst>
            <pc:docMk/>
            <pc:sldMk cId="1315222392" sldId="2147375199"/>
            <ac:spMk id="21" creationId="{1D39CC73-443D-4985-A1E1-0BD07E239A8E}"/>
          </ac:spMkLst>
        </pc:spChg>
      </pc:sldChg>
      <pc:sldChg chg="addSp delSp modSp mod">
        <pc:chgData name="Sera, Marco" userId="a94d3ed1-5154-44e4-856d-da6bb2b4e1f5" providerId="ADAL" clId="{13716B2C-99BD-42DE-800D-0CADB5CDCBA2}" dt="2021-09-20T10:02:32.918" v="28" actId="478"/>
        <pc:sldMkLst>
          <pc:docMk/>
          <pc:sldMk cId="1747342608" sldId="2147375221"/>
        </pc:sldMkLst>
        <pc:spChg chg="add del mod">
          <ac:chgData name="Sera, Marco" userId="a94d3ed1-5154-44e4-856d-da6bb2b4e1f5" providerId="ADAL" clId="{13716B2C-99BD-42DE-800D-0CADB5CDCBA2}" dt="2021-09-20T10:02:32.918" v="28" actId="478"/>
          <ac:spMkLst>
            <pc:docMk/>
            <pc:sldMk cId="1747342608" sldId="2147375221"/>
            <ac:spMk id="3" creationId="{F9517143-6DBA-45D7-9D55-45EFD8909AEA}"/>
          </ac:spMkLst>
        </pc:spChg>
        <pc:spChg chg="add del">
          <ac:chgData name="Sera, Marco" userId="a94d3ed1-5154-44e4-856d-da6bb2b4e1f5" providerId="ADAL" clId="{13716B2C-99BD-42DE-800D-0CADB5CDCBA2}" dt="2021-09-20T10:02:32.918" v="28" actId="478"/>
          <ac:spMkLst>
            <pc:docMk/>
            <pc:sldMk cId="1747342608" sldId="2147375221"/>
            <ac:spMk id="5" creationId="{5C70BA29-6AD1-46B2-8463-79CD616E0C3C}"/>
          </ac:spMkLst>
        </pc:spChg>
      </pc:sldChg>
      <pc:sldChg chg="addSp delSp modSp mod">
        <pc:chgData name="Sera, Marco" userId="a94d3ed1-5154-44e4-856d-da6bb2b4e1f5" providerId="ADAL" clId="{13716B2C-99BD-42DE-800D-0CADB5CDCBA2}" dt="2021-09-20T10:02:38.303" v="35"/>
        <pc:sldMkLst>
          <pc:docMk/>
          <pc:sldMk cId="3138382597" sldId="2147375224"/>
        </pc:sldMkLst>
        <pc:spChg chg="mod">
          <ac:chgData name="Sera, Marco" userId="a94d3ed1-5154-44e4-856d-da6bb2b4e1f5" providerId="ADAL" clId="{13716B2C-99BD-42DE-800D-0CADB5CDCBA2}" dt="2021-09-20T10:02:34.536" v="31" actId="20577"/>
          <ac:spMkLst>
            <pc:docMk/>
            <pc:sldMk cId="3138382597" sldId="2147375224"/>
            <ac:spMk id="5" creationId="{3256DFC3-EA90-4F46-B018-6DF569A6E337}"/>
          </ac:spMkLst>
        </pc:spChg>
        <pc:spChg chg="add del mod">
          <ac:chgData name="Sera, Marco" userId="a94d3ed1-5154-44e4-856d-da6bb2b4e1f5" providerId="ADAL" clId="{13716B2C-99BD-42DE-800D-0CADB5CDCBA2}" dt="2021-09-20T10:02:02.740" v="21" actId="20577"/>
          <ac:spMkLst>
            <pc:docMk/>
            <pc:sldMk cId="3138382597" sldId="2147375224"/>
            <ac:spMk id="28" creationId="{90623155-011F-4A6B-8D8E-A4D278D7F950}"/>
          </ac:spMkLst>
        </pc:spChg>
        <pc:spChg chg="mod">
          <ac:chgData name="Sera, Marco" userId="a94d3ed1-5154-44e4-856d-da6bb2b4e1f5" providerId="ADAL" clId="{13716B2C-99BD-42DE-800D-0CADB5CDCBA2}" dt="2021-09-20T10:02:35.812" v="32" actId="14100"/>
          <ac:spMkLst>
            <pc:docMk/>
            <pc:sldMk cId="3138382597" sldId="2147375224"/>
            <ac:spMk id="29" creationId="{0B6CC18B-FADF-463C-AB54-64161E9959F5}"/>
          </ac:spMkLst>
        </pc:spChg>
        <pc:picChg chg="add del mod">
          <ac:chgData name="Sera, Marco" userId="a94d3ed1-5154-44e4-856d-da6bb2b4e1f5" providerId="ADAL" clId="{13716B2C-99BD-42DE-800D-0CADB5CDCBA2}" dt="2021-09-20T10:02:38.303" v="35"/>
          <ac:picMkLst>
            <pc:docMk/>
            <pc:sldMk cId="3138382597" sldId="2147375224"/>
            <ac:picMk id="15362" creationId="{9DD25416-1C7B-4FB7-B130-8E8F5F1853D6}"/>
          </ac:picMkLst>
        </pc:picChg>
      </pc:sldChg>
      <pc:sldChg chg="modSp mod">
        <pc:chgData name="Sera, Marco" userId="a94d3ed1-5154-44e4-856d-da6bb2b4e1f5" providerId="ADAL" clId="{13716B2C-99BD-42DE-800D-0CADB5CDCBA2}" dt="2021-09-15T16:35:41.486" v="7" actId="21"/>
        <pc:sldMkLst>
          <pc:docMk/>
          <pc:sldMk cId="2085824860" sldId="2147375227"/>
        </pc:sldMkLst>
        <pc:spChg chg="mod">
          <ac:chgData name="Sera, Marco" userId="a94d3ed1-5154-44e4-856d-da6bb2b4e1f5" providerId="ADAL" clId="{13716B2C-99BD-42DE-800D-0CADB5CDCBA2}" dt="2021-09-15T16:35:41.486" v="7" actId="21"/>
          <ac:spMkLst>
            <pc:docMk/>
            <pc:sldMk cId="2085824860" sldId="2147375227"/>
            <ac:spMk id="7" creationId="{C39808E7-6AE5-49C2-B387-7BA74C63F501}"/>
          </ac:spMkLst>
        </pc:spChg>
      </pc:sldChg>
      <pc:sldChg chg="add del">
        <pc:chgData name="Sera, Marco" userId="a94d3ed1-5154-44e4-856d-da6bb2b4e1f5" providerId="ADAL" clId="{13716B2C-99BD-42DE-800D-0CADB5CDCBA2}" dt="2021-09-20T10:02:40.500" v="36"/>
        <pc:sldMkLst>
          <pc:docMk/>
          <pc:sldMk cId="954693250" sldId="2147375244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https://collaborationxperience.sharepoint.com/sites/PNRRcondivisioneFile/Shared%20Documents/Avvisi_Bandi_territorializzazione/Bandi%2007042022/Monitoraggio%20Bandi%20e%20Avvisi%20per%20segreteria_07042022%20(2)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250400068811834"/>
          <c:y val="3.8564335582140855E-2"/>
          <c:w val="0.63635395287989538"/>
          <c:h val="0.9289847951798960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5A1-4FE3-9275-FD6D33FA6770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5A1-4FE3-9275-FD6D33FA6770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5A1-4FE3-9275-FD6D33FA677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5A1-4FE3-9275-FD6D33FA677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5A1-4FE3-9275-FD6D33FA6770}"/>
                </c:ext>
              </c:extLst>
            </c:dLbl>
            <c:dLbl>
              <c:idx val="2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5A1-4FE3-9275-FD6D33FA67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2"/>
                <c:pt idx="0">
                  <c:v>DISPOSITIVO DI RIPRESA E RESILIENZA (RRF)</c:v>
                </c:pt>
                <c:pt idx="1">
                  <c:v>FONDO NAZIONALE COMPLEMENTAR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91.5</c:v>
                </c:pt>
                <c:pt idx="1">
                  <c:v>3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5A1-4FE3-9275-FD6D33FA677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203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8394213886872905"/>
          <c:y val="2.7081631442452601E-2"/>
          <c:w val="0.4749566992764751"/>
          <c:h val="0.85948723635149749"/>
        </c:manualLayout>
      </c:layout>
      <c:barChart>
        <c:barDir val="bar"/>
        <c:grouping val="clustered"/>
        <c:varyColors val="0"/>
        <c:ser>
          <c:idx val="0"/>
          <c:order val="0"/>
          <c:tx>
            <c:v>Importo complessivo messo a bando</c:v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rgbClr val="002060"/>
                    </a:solidFill>
                    <a:latin typeface="Graphik" panose="020B0503030202060203" pitchFamily="34" charset="0"/>
                    <a:ea typeface="+mn-ea"/>
                    <a:cs typeface="+mn-cs"/>
                  </a:defRPr>
                </a:pPr>
                <a:endParaRPr lang="it-IT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Grafici!$A$17:$A$36</c:f>
              <c:strCache>
                <c:ptCount val="20"/>
                <c:pt idx="0">
                  <c:v>Ministero dell'Istruzione (MI)</c:v>
                </c:pt>
                <c:pt idx="1">
                  <c:v>Ministero Dell'Università e ricerca (MUR)</c:v>
                </c:pt>
                <c:pt idx="2">
                  <c:v>PCM - Ministro per la Pubblica Amministrazione</c:v>
                </c:pt>
                <c:pt idx="3">
                  <c:v>Ministero delle Infrastrutture e Mobilità sostenibile (MIMS)</c:v>
                </c:pt>
                <c:pt idx="4">
                  <c:v>Ministero delle Politiche Agricole Alimentari e Forestali</c:v>
                </c:pt>
                <c:pt idx="5">
                  <c:v>Ministero della Giustizia e Consiglio di Stato</c:v>
                </c:pt>
                <c:pt idx="6">
                  <c:v>Ministero degli Affari Esteri e Cooperazione internazionale (MAECI)</c:v>
                </c:pt>
                <c:pt idx="7">
                  <c:v>Ministero della Transizione Ecologica (MITE)</c:v>
                </c:pt>
                <c:pt idx="8">
                  <c:v>Ministero del Turismo (MITUR)</c:v>
                </c:pt>
                <c:pt idx="9">
                  <c:v>Ministero della Cultura (MIC)</c:v>
                </c:pt>
                <c:pt idx="10">
                  <c:v>Ministero dell'innovazione tecnologica e transizione digitale (MITD)</c:v>
                </c:pt>
                <c:pt idx="11">
                  <c:v>PCM-Ministero per il Sud Italia e la Coesione Territoriale</c:v>
                </c:pt>
                <c:pt idx="12">
                  <c:v>Ministero delle politiche giovanili</c:v>
                </c:pt>
                <c:pt idx="13">
                  <c:v>Ministero della Salute</c:v>
                </c:pt>
                <c:pt idx="14">
                  <c:v>Ministero dell'Interno</c:v>
                </c:pt>
                <c:pt idx="15">
                  <c:v>Ministero dello Sviluppo Economico (MISE)</c:v>
                </c:pt>
                <c:pt idx="16">
                  <c:v>Ministero del lavoro e delle politiche sociali</c:v>
                </c:pt>
                <c:pt idx="17">
                  <c:v>PCM - Dipartimento dello sport</c:v>
                </c:pt>
                <c:pt idx="18">
                  <c:v>PCM - Ministro per gli Affari regionali e le Autonomie</c:v>
                </c:pt>
                <c:pt idx="19">
                  <c:v>PCM - Protezione civile</c:v>
                </c:pt>
              </c:strCache>
            </c:strRef>
          </c:cat>
          <c:val>
            <c:numRef>
              <c:f>Grafici!$J$17:$J$36</c:f>
              <c:numCache>
                <c:formatCode>"€"#,##0.00_);[Red]\("€"#,##0.00\)</c:formatCode>
                <c:ptCount val="20"/>
                <c:pt idx="0">
                  <c:v>4.5</c:v>
                </c:pt>
                <c:pt idx="1">
                  <c:v>7.1189436923599994</c:v>
                </c:pt>
                <c:pt idx="2">
                  <c:v>0.32029999999999997</c:v>
                </c:pt>
                <c:pt idx="3">
                  <c:v>6.774</c:v>
                </c:pt>
                <c:pt idx="4">
                  <c:v>0.52</c:v>
                </c:pt>
                <c:pt idx="5">
                  <c:v>2.3482598628</c:v>
                </c:pt>
                <c:pt idx="6">
                  <c:v>1.2002699999999999</c:v>
                </c:pt>
                <c:pt idx="7">
                  <c:v>3.45343</c:v>
                </c:pt>
                <c:pt idx="8">
                  <c:v>0.61040000000000005</c:v>
                </c:pt>
                <c:pt idx="9">
                  <c:v>1.9106746999999999</c:v>
                </c:pt>
                <c:pt idx="10">
                  <c:v>8.5362045923099998</c:v>
                </c:pt>
                <c:pt idx="11">
                  <c:v>0.96</c:v>
                </c:pt>
                <c:pt idx="12">
                  <c:v>0.217</c:v>
                </c:pt>
                <c:pt idx="13">
                  <c:v>1.26207</c:v>
                </c:pt>
                <c:pt idx="14">
                  <c:v>8.7937899999999996</c:v>
                </c:pt>
                <c:pt idx="15">
                  <c:v>15.301</c:v>
                </c:pt>
                <c:pt idx="16">
                  <c:v>1.4605999999999999</c:v>
                </c:pt>
                <c:pt idx="17">
                  <c:v>0.7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AC2-4C66-86E5-C66FD1ED3765}"/>
            </c:ext>
          </c:extLst>
        </c:ser>
        <c:ser>
          <c:idx val="1"/>
          <c:order val="1"/>
          <c:tx>
            <c:v>Pubblicate su Italia Domani</c:v>
          </c:tx>
          <c:spPr>
            <a:solidFill>
              <a:schemeClr val="accent2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rgbClr val="002060"/>
                    </a:solidFill>
                    <a:latin typeface="Graphik" panose="020B0503030202060203" pitchFamily="34" charset="0"/>
                    <a:ea typeface="+mn-ea"/>
                    <a:cs typeface="+mn-cs"/>
                  </a:defRPr>
                </a:pPr>
                <a:endParaRPr lang="it-IT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Grafici!$A$17:$A$36</c:f>
              <c:strCache>
                <c:ptCount val="20"/>
                <c:pt idx="0">
                  <c:v>Ministero dell'Istruzione (MI)</c:v>
                </c:pt>
                <c:pt idx="1">
                  <c:v>Ministero Dell'Università e ricerca (MUR)</c:v>
                </c:pt>
                <c:pt idx="2">
                  <c:v>PCM - Ministro per la Pubblica Amministrazione</c:v>
                </c:pt>
                <c:pt idx="3">
                  <c:v>Ministero delle Infrastrutture e Mobilità sostenibile (MIMS)</c:v>
                </c:pt>
                <c:pt idx="4">
                  <c:v>Ministero delle Politiche Agricole Alimentari e Forestali</c:v>
                </c:pt>
                <c:pt idx="5">
                  <c:v>Ministero della Giustizia e Consiglio di Stato</c:v>
                </c:pt>
                <c:pt idx="6">
                  <c:v>Ministero degli Affari Esteri e Cooperazione internazionale (MAECI)</c:v>
                </c:pt>
                <c:pt idx="7">
                  <c:v>Ministero della Transizione Ecologica (MITE)</c:v>
                </c:pt>
                <c:pt idx="8">
                  <c:v>Ministero del Turismo (MITUR)</c:v>
                </c:pt>
                <c:pt idx="9">
                  <c:v>Ministero della Cultura (MIC)</c:v>
                </c:pt>
                <c:pt idx="10">
                  <c:v>Ministero dell'innovazione tecnologica e transizione digitale (MITD)</c:v>
                </c:pt>
                <c:pt idx="11">
                  <c:v>PCM-Ministero per il Sud Italia e la Coesione Territoriale</c:v>
                </c:pt>
                <c:pt idx="12">
                  <c:v>Ministero delle politiche giovanili</c:v>
                </c:pt>
                <c:pt idx="13">
                  <c:v>Ministero della Salute</c:v>
                </c:pt>
                <c:pt idx="14">
                  <c:v>Ministero dell'Interno</c:v>
                </c:pt>
                <c:pt idx="15">
                  <c:v>Ministero dello Sviluppo Economico (MISE)</c:v>
                </c:pt>
                <c:pt idx="16">
                  <c:v>Ministero del lavoro e delle politiche sociali</c:v>
                </c:pt>
                <c:pt idx="17">
                  <c:v>PCM - Dipartimento dello sport</c:v>
                </c:pt>
                <c:pt idx="18">
                  <c:v>PCM - Ministro per gli Affari regionali e le Autonomie</c:v>
                </c:pt>
                <c:pt idx="19">
                  <c:v>PCM - Protezione civile</c:v>
                </c:pt>
              </c:strCache>
            </c:strRef>
          </c:cat>
          <c:val>
            <c:numRef>
              <c:f>Grafici!$M$17:$M$36</c:f>
              <c:numCache>
                <c:formatCode>"€"#,##0.00_);[Red]\("€"#,##0.00\)</c:formatCode>
                <c:ptCount val="20"/>
                <c:pt idx="0">
                  <c:v>4.5</c:v>
                </c:pt>
                <c:pt idx="1">
                  <c:v>6.0007582015100001</c:v>
                </c:pt>
                <c:pt idx="2">
                  <c:v>0.32029999999999997</c:v>
                </c:pt>
                <c:pt idx="3">
                  <c:v>4.0111576189899996</c:v>
                </c:pt>
                <c:pt idx="4">
                  <c:v>0.52</c:v>
                </c:pt>
                <c:pt idx="5">
                  <c:v>2.2474073991300001</c:v>
                </c:pt>
                <c:pt idx="6">
                  <c:v>1.2</c:v>
                </c:pt>
                <c:pt idx="7">
                  <c:v>3.12</c:v>
                </c:pt>
                <c:pt idx="8">
                  <c:v>0.61040000000000005</c:v>
                </c:pt>
                <c:pt idx="9">
                  <c:v>1.3562416367600001</c:v>
                </c:pt>
                <c:pt idx="10">
                  <c:v>8.4130078709999996</c:v>
                </c:pt>
                <c:pt idx="11">
                  <c:v>0.91600000000000004</c:v>
                </c:pt>
                <c:pt idx="12">
                  <c:v>0.27200000000000002</c:v>
                </c:pt>
                <c:pt idx="13">
                  <c:v>2.3778760000000001</c:v>
                </c:pt>
                <c:pt idx="14">
                  <c:v>5.7937900000000004</c:v>
                </c:pt>
                <c:pt idx="15">
                  <c:v>2.23</c:v>
                </c:pt>
                <c:pt idx="16">
                  <c:v>1.4505999999999999</c:v>
                </c:pt>
                <c:pt idx="17">
                  <c:v>0.7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AC2-4C66-86E5-C66FD1ED3765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012746880"/>
        <c:axId val="1012747296"/>
      </c:barChart>
      <c:catAx>
        <c:axId val="10127468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Graphik" panose="020B0503030202060203" pitchFamily="34" charset="0"/>
                <a:ea typeface="+mn-ea"/>
                <a:cs typeface="+mn-cs"/>
              </a:defRPr>
            </a:pPr>
            <a:endParaRPr lang="it-IT"/>
          </a:p>
        </c:txPr>
        <c:crossAx val="1012747296"/>
        <c:crosses val="autoZero"/>
        <c:auto val="1"/>
        <c:lblAlgn val="ctr"/>
        <c:lblOffset val="100"/>
        <c:noMultiLvlLbl val="0"/>
      </c:catAx>
      <c:valAx>
        <c:axId val="1012747296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&quot;€&quot;#,##0.00_);[Red]\(&quot;€&quot;#,##0.00\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Graphik" panose="020B0503030202060203" pitchFamily="34" charset="0"/>
                <a:ea typeface="+mn-ea"/>
                <a:cs typeface="+mn-cs"/>
              </a:defRPr>
            </a:pPr>
            <a:endParaRPr lang="it-IT"/>
          </a:p>
        </c:txPr>
        <c:crossAx val="10127468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3016623080480405"/>
          <c:y val="0.93704050598318067"/>
          <c:w val="0.7396675383903919"/>
          <c:h val="6.29594525594393E-2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Graphik" panose="020B0503030202060203" pitchFamily="34" charset="0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273683218273331"/>
          <c:y val="0.11382895123797339"/>
          <c:w val="0.78506300843227939"/>
          <c:h val="0.9504389716423644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rocedure</c:v>
                </c:pt>
              </c:strCache>
            </c:strRef>
          </c:tx>
          <c:spPr>
            <a:solidFill>
              <a:srgbClr val="476DB6"/>
            </a:solidFill>
          </c:spPr>
          <c:dPt>
            <c:idx val="0"/>
            <c:bubble3D val="0"/>
            <c:spPr>
              <a:solidFill>
                <a:srgbClr val="5472AC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C20-44AB-A1C9-CBD5FBD86C54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C20-44AB-A1C9-CBD5FBD86C54}"/>
              </c:ext>
            </c:extLst>
          </c:dPt>
          <c:dPt>
            <c:idx val="2"/>
            <c:bubble3D val="0"/>
            <c:spPr>
              <a:solidFill>
                <a:srgbClr val="F8C94D">
                  <a:lumMod val="75000"/>
                </a:srgb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75B2-40BB-8EF9-D63B6EA3FF05}"/>
              </c:ext>
            </c:extLst>
          </c:dPt>
          <c:dLbls>
            <c:delete val="1"/>
          </c:dLbls>
          <c:cat>
            <c:strRef>
              <c:f>Sheet1!$A$2:$A$4</c:f>
              <c:strCache>
                <c:ptCount val="3"/>
                <c:pt idx="0">
                  <c:v>Selezione progetti</c:v>
                </c:pt>
                <c:pt idx="1">
                  <c:v>Appalti pubblici</c:v>
                </c:pt>
                <c:pt idx="2">
                  <c:v>Concorsi e selezione esperti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37</c:v>
                </c:pt>
                <c:pt idx="1">
                  <c:v>50</c:v>
                </c:pt>
                <c:pt idx="2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C20-44AB-A1C9-CBD5FBD86C54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BAA05A-CEA9-B94A-83E8-818BA55CB8B2}" type="datetimeFigureOut">
              <a:rPr lang="it-IT" smtClean="0"/>
              <a:t>17/05/2022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it-IT"/>
              <a:t>Modifica gli stili del testo dello schema
Secondo livello
Terzo livello
Quarto livello
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17872B-5654-D744-97B8-E1A52D913D11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56732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F72818-F60B-4673-B240-E1F9615C2EE3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64683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17872B-5654-D744-97B8-E1A52D913D11}" type="slidenum"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076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49867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F72818-F60B-4673-B240-E1F9615C2EE3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54602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17872B-5654-D744-97B8-E1A52D913D11}" type="slidenum"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076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12457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17872B-5654-D744-97B8-E1A52D913D11}" type="slidenum"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076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21323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F72818-F60B-4673-B240-E1F9615C2EE3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23314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17872B-5654-D744-97B8-E1A52D913D11}" type="slidenum"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076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0396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>
            <a:extLst>
              <a:ext uri="{FF2B5EF4-FFF2-40B4-BE49-F238E27FC236}">
                <a16:creationId xmlns:a16="http://schemas.microsoft.com/office/drawing/2014/main" id="{843F6EDA-C372-6747-8EB0-AB6800F251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847" y="512273"/>
            <a:ext cx="11532865" cy="424732"/>
          </a:xfrm>
          <a:noFill/>
        </p:spPr>
        <p:txBody>
          <a:bodyPr wrap="square" lIns="0" rtlCol="0">
            <a:spAutoFit/>
          </a:bodyPr>
          <a:lstStyle>
            <a:lvl1pPr>
              <a:defRPr lang="it-IT" sz="2400" b="1" dirty="0">
                <a:solidFill>
                  <a:srgbClr val="0A26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68416CD-683D-1B41-85C7-43BB3E681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847" y="254521"/>
            <a:ext cx="8494999" cy="237757"/>
          </a:xfrm>
          <a:noFill/>
        </p:spPr>
        <p:txBody>
          <a:bodyPr wrap="square" lIns="0" rtlCol="0">
            <a:spAutoFit/>
          </a:bodyPr>
          <a:lstStyle>
            <a:lvl1pPr marL="0" indent="0">
              <a:buFont typeface="+mj-lt"/>
              <a:buNone/>
              <a:defRPr lang="it-IT" sz="10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GLI STILI DEL TESTO DELLO SCHEMA</a:t>
            </a:r>
          </a:p>
        </p:txBody>
      </p:sp>
      <p:sp>
        <p:nvSpPr>
          <p:cNvPr id="13" name="Footer Placeholder 83">
            <a:extLst>
              <a:ext uri="{FF2B5EF4-FFF2-40B4-BE49-F238E27FC236}">
                <a16:creationId xmlns:a16="http://schemas.microsoft.com/office/drawing/2014/main" id="{04D5A9D0-7D27-6043-94AF-A609E50211B4}"/>
              </a:ext>
            </a:extLst>
          </p:cNvPr>
          <p:cNvSpPr txBox="1"/>
          <p:nvPr userDrawn="1"/>
        </p:nvSpPr>
        <p:spPr>
          <a:xfrm>
            <a:off x="451474" y="6464980"/>
            <a:ext cx="4114801" cy="138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9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Copyright © 2021 </a:t>
            </a:r>
            <a:r>
              <a:rPr kumimoji="0" lang="it-IT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Italia domani</a:t>
            </a: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149144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egnaposto testo 20">
            <a:extLst>
              <a:ext uri="{FF2B5EF4-FFF2-40B4-BE49-F238E27FC236}">
                <a16:creationId xmlns:a16="http://schemas.microsoft.com/office/drawing/2014/main" id="{8B727156-FEEE-A640-9610-2DF6342436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669" y="4022660"/>
            <a:ext cx="4100657" cy="644850"/>
          </a:xfrm>
          <a:noFill/>
        </p:spPr>
        <p:txBody>
          <a:bodyPr wrap="square" lIns="0" rtlCol="0" anchor="ctr">
            <a:noAutofit/>
          </a:bodyPr>
          <a:lstStyle>
            <a:lvl1pPr marL="0" indent="0">
              <a:buNone/>
              <a:defRPr lang="it-IT" sz="2400" b="0" dirty="0">
                <a:solidFill>
                  <a:srgbClr val="CDA73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gli</a:t>
            </a:r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6D580878-EF8E-B746-B8C9-C877BF1B67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3402" y="2824802"/>
            <a:ext cx="9123218" cy="1200329"/>
          </a:xfrm>
        </p:spPr>
        <p:txBody>
          <a:bodyPr wrap="square">
            <a:spAutoFit/>
          </a:bodyPr>
          <a:lstStyle>
            <a:lvl1pPr>
              <a:defRPr lang="it-IT" sz="4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LO STILE DEL TITOLO DELLO SCHEMA</a:t>
            </a:r>
          </a:p>
        </p:txBody>
      </p:sp>
      <p:sp>
        <p:nvSpPr>
          <p:cNvPr id="4" name="Triangolo 3">
            <a:extLst>
              <a:ext uri="{FF2B5EF4-FFF2-40B4-BE49-F238E27FC236}">
                <a16:creationId xmlns:a16="http://schemas.microsoft.com/office/drawing/2014/main" id="{B332F31B-8B5E-4348-BFE2-218027F29EB9}"/>
              </a:ext>
            </a:extLst>
          </p:cNvPr>
          <p:cNvSpPr/>
          <p:nvPr userDrawn="1"/>
        </p:nvSpPr>
        <p:spPr>
          <a:xfrm>
            <a:off x="7368226" y="-154761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Triangolo 3">
            <a:extLst>
              <a:ext uri="{FF2B5EF4-FFF2-40B4-BE49-F238E27FC236}">
                <a16:creationId xmlns:a16="http://schemas.microsoft.com/office/drawing/2014/main" id="{D75E7B67-284F-BC4D-A238-BC02D3DF9B51}"/>
              </a:ext>
            </a:extLst>
          </p:cNvPr>
          <p:cNvSpPr/>
          <p:nvPr userDrawn="1"/>
        </p:nvSpPr>
        <p:spPr>
          <a:xfrm flipV="1">
            <a:off x="7516084" y="-1223913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476DB6">
              <a:alpha val="9111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0602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riangolo 3">
            <a:extLst>
              <a:ext uri="{FF2B5EF4-FFF2-40B4-BE49-F238E27FC236}">
                <a16:creationId xmlns:a16="http://schemas.microsoft.com/office/drawing/2014/main" id="{16160AA9-8282-DA4C-909B-F790731EAD07}"/>
              </a:ext>
            </a:extLst>
          </p:cNvPr>
          <p:cNvSpPr/>
          <p:nvPr userDrawn="1"/>
        </p:nvSpPr>
        <p:spPr>
          <a:xfrm rot="5400000" flipH="1" flipV="1">
            <a:off x="-2335059" y="-3246135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555569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riangolo 3">
            <a:extLst>
              <a:ext uri="{FF2B5EF4-FFF2-40B4-BE49-F238E27FC236}">
                <a16:creationId xmlns:a16="http://schemas.microsoft.com/office/drawing/2014/main" id="{4A1D4B6D-5583-6946-B8B0-562BF5E76E7B}"/>
              </a:ext>
            </a:extLst>
          </p:cNvPr>
          <p:cNvSpPr/>
          <p:nvPr userDrawn="1"/>
        </p:nvSpPr>
        <p:spPr>
          <a:xfrm rot="20210384">
            <a:off x="-2607017" y="4722820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Segnaposto testo 20">
            <a:extLst>
              <a:ext uri="{FF2B5EF4-FFF2-40B4-BE49-F238E27FC236}">
                <a16:creationId xmlns:a16="http://schemas.microsoft.com/office/drawing/2014/main" id="{8B727156-FEEE-A640-9610-2DF6342436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669" y="2179952"/>
            <a:ext cx="4100657" cy="644850"/>
          </a:xfrm>
          <a:noFill/>
        </p:spPr>
        <p:txBody>
          <a:bodyPr wrap="square" lIns="0" rtlCol="0" anchor="ctr">
            <a:noAutofit/>
          </a:bodyPr>
          <a:lstStyle>
            <a:lvl1pPr marL="0" indent="0">
              <a:buNone/>
              <a:defRPr lang="it-IT" sz="2400" b="0" dirty="0">
                <a:solidFill>
                  <a:srgbClr val="CDA73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gli</a:t>
            </a:r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6D580878-EF8E-B746-B8C9-C877BF1B67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669" y="2928067"/>
            <a:ext cx="9123218" cy="1200329"/>
          </a:xfrm>
        </p:spPr>
        <p:txBody>
          <a:bodyPr wrap="square">
            <a:spAutoFit/>
          </a:bodyPr>
          <a:lstStyle>
            <a:lvl1pPr>
              <a:defRPr lang="it-IT" sz="4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LO STILE DEL TITOLO DELLO SCHEMA</a:t>
            </a:r>
          </a:p>
        </p:txBody>
      </p:sp>
      <p:sp>
        <p:nvSpPr>
          <p:cNvPr id="4" name="Triangolo 3">
            <a:extLst>
              <a:ext uri="{FF2B5EF4-FFF2-40B4-BE49-F238E27FC236}">
                <a16:creationId xmlns:a16="http://schemas.microsoft.com/office/drawing/2014/main" id="{B332F31B-8B5E-4348-BFE2-218027F29EB9}"/>
              </a:ext>
            </a:extLst>
          </p:cNvPr>
          <p:cNvSpPr/>
          <p:nvPr userDrawn="1"/>
        </p:nvSpPr>
        <p:spPr>
          <a:xfrm rot="20210384">
            <a:off x="8111317" y="-2604198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Triangolo 3">
            <a:extLst>
              <a:ext uri="{FF2B5EF4-FFF2-40B4-BE49-F238E27FC236}">
                <a16:creationId xmlns:a16="http://schemas.microsoft.com/office/drawing/2014/main" id="{D75E7B67-284F-BC4D-A238-BC02D3DF9B51}"/>
              </a:ext>
            </a:extLst>
          </p:cNvPr>
          <p:cNvSpPr/>
          <p:nvPr userDrawn="1"/>
        </p:nvSpPr>
        <p:spPr>
          <a:xfrm rot="4332893" flipV="1">
            <a:off x="3413993" y="3487389"/>
            <a:ext cx="3464570" cy="5706350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476DB6">
              <a:alpha val="9111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7282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riangolo 3">
            <a:extLst>
              <a:ext uri="{FF2B5EF4-FFF2-40B4-BE49-F238E27FC236}">
                <a16:creationId xmlns:a16="http://schemas.microsoft.com/office/drawing/2014/main" id="{16160AA9-8282-DA4C-909B-F790731EAD07}"/>
              </a:ext>
            </a:extLst>
          </p:cNvPr>
          <p:cNvSpPr/>
          <p:nvPr userDrawn="1"/>
        </p:nvSpPr>
        <p:spPr>
          <a:xfrm rot="16200000" flipH="1">
            <a:off x="-340004" y="1272111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245074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>
            <a:extLst>
              <a:ext uri="{FF2B5EF4-FFF2-40B4-BE49-F238E27FC236}">
                <a16:creationId xmlns:a16="http://schemas.microsoft.com/office/drawing/2014/main" id="{843F6EDA-C372-6747-8EB0-AB6800F251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847" y="512273"/>
            <a:ext cx="11532865" cy="424732"/>
          </a:xfrm>
          <a:noFill/>
        </p:spPr>
        <p:txBody>
          <a:bodyPr wrap="square" lIns="0" rtlCol="0">
            <a:spAutoFit/>
          </a:bodyPr>
          <a:lstStyle>
            <a:lvl1pPr>
              <a:defRPr lang="it-IT" sz="2400" b="1" dirty="0">
                <a:solidFill>
                  <a:srgbClr val="0A26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68416CD-683D-1B41-85C7-43BB3E681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847" y="254521"/>
            <a:ext cx="8494999" cy="237757"/>
          </a:xfrm>
          <a:noFill/>
        </p:spPr>
        <p:txBody>
          <a:bodyPr wrap="square" lIns="0" rtlCol="0">
            <a:spAutoFit/>
          </a:bodyPr>
          <a:lstStyle>
            <a:lvl1pPr marL="0" indent="0">
              <a:buFont typeface="+mj-lt"/>
              <a:buNone/>
              <a:defRPr lang="it-IT" sz="10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5545700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 descr="Immagine che contiene montagna, cielo, esterni, uomo&#10;&#10;Descrizione generata automaticamente">
            <a:extLst>
              <a:ext uri="{FF2B5EF4-FFF2-40B4-BE49-F238E27FC236}">
                <a16:creationId xmlns:a16="http://schemas.microsoft.com/office/drawing/2014/main" id="{60CCCDFD-DE98-4F4E-BB2D-5A559977F5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2401" y="-57275"/>
            <a:ext cx="12406845" cy="7007719"/>
          </a:xfrm>
          <a:prstGeom prst="rect">
            <a:avLst/>
          </a:prstGeom>
        </p:spPr>
      </p:pic>
      <p:sp>
        <p:nvSpPr>
          <p:cNvPr id="6" name="Rectangle 4">
            <a:extLst>
              <a:ext uri="{FF2B5EF4-FFF2-40B4-BE49-F238E27FC236}">
                <a16:creationId xmlns:a16="http://schemas.microsoft.com/office/drawing/2014/main" id="{37420C44-0863-4F1D-B8E8-A6171A05F533}"/>
              </a:ext>
            </a:extLst>
          </p:cNvPr>
          <p:cNvSpPr/>
          <p:nvPr userDrawn="1"/>
        </p:nvSpPr>
        <p:spPr>
          <a:xfrm>
            <a:off x="-152401" y="-57275"/>
            <a:ext cx="12393466" cy="7007719"/>
          </a:xfrm>
          <a:prstGeom prst="rect">
            <a:avLst/>
          </a:prstGeom>
          <a:solidFill>
            <a:srgbClr val="476DB6">
              <a:alpha val="7490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sz="1600">
              <a:solidFill>
                <a:schemeClr val="bg1"/>
              </a:solidFill>
            </a:endParaRPr>
          </a:p>
        </p:txBody>
      </p:sp>
      <p:sp>
        <p:nvSpPr>
          <p:cNvPr id="7" name="Segnaposto testo 5">
            <a:extLst>
              <a:ext uri="{FF2B5EF4-FFF2-40B4-BE49-F238E27FC236}">
                <a16:creationId xmlns:a16="http://schemas.microsoft.com/office/drawing/2014/main" id="{BB960975-98BC-43E7-99EE-DDC6BBC6D4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159" y="3825087"/>
            <a:ext cx="4992687" cy="946135"/>
          </a:xfrm>
          <a:solidFill>
            <a:schemeClr val="bg2"/>
          </a:solidFill>
        </p:spPr>
        <p:txBody>
          <a:bodyPr wrap="square" lIns="360000" rtlCol="0" anchor="ctr">
            <a:noAutofit/>
          </a:bodyPr>
          <a:lstStyle>
            <a:lvl1pPr>
              <a:defRPr lang="it-IT" sz="3600" smtClean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</a:defRPr>
            </a:lvl1pPr>
            <a:lvl2pPr marL="114300" indent="0">
              <a:buNone/>
              <a:defRPr lang="it-IT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it-IT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it-IT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it-IT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/>
              <a:t>Fare clic per modifica</a:t>
            </a:r>
          </a:p>
        </p:txBody>
      </p:sp>
      <p:sp>
        <p:nvSpPr>
          <p:cNvPr id="8" name="Segnaposto testo 5">
            <a:extLst>
              <a:ext uri="{FF2B5EF4-FFF2-40B4-BE49-F238E27FC236}">
                <a16:creationId xmlns:a16="http://schemas.microsoft.com/office/drawing/2014/main" id="{04D0533A-67FD-41AB-B27C-38D2599733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9297" y="4868057"/>
            <a:ext cx="2009103" cy="688952"/>
          </a:xfrm>
          <a:solidFill>
            <a:schemeClr val="bg2"/>
          </a:solidFill>
        </p:spPr>
        <p:txBody>
          <a:bodyPr wrap="square" lIns="360000" rtlCol="0" anchor="ctr">
            <a:noAutofit/>
          </a:bodyPr>
          <a:lstStyle>
            <a:lvl1pPr>
              <a:defRPr lang="it-IT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</a:defRPr>
            </a:lvl1pPr>
          </a:lstStyle>
          <a:p>
            <a:pPr lvl="0"/>
            <a:r>
              <a:rPr lang="it-IT"/>
              <a:t>FARE</a:t>
            </a:r>
          </a:p>
        </p:txBody>
      </p:sp>
    </p:spTree>
    <p:extLst>
      <p:ext uri="{BB962C8B-B14F-4D97-AF65-F5344CB8AC3E}">
        <p14:creationId xmlns:p14="http://schemas.microsoft.com/office/powerpoint/2010/main" val="40376361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3434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1586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iangolo 3">
            <a:extLst>
              <a:ext uri="{FF2B5EF4-FFF2-40B4-BE49-F238E27FC236}">
                <a16:creationId xmlns:a16="http://schemas.microsoft.com/office/drawing/2014/main" id="{467C3E0D-F122-B446-8F3E-8919F8343E54}"/>
              </a:ext>
            </a:extLst>
          </p:cNvPr>
          <p:cNvSpPr/>
          <p:nvPr userDrawn="1"/>
        </p:nvSpPr>
        <p:spPr>
          <a:xfrm>
            <a:off x="7368226" y="-154761"/>
            <a:ext cx="5118410" cy="7142157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Triangolo 3">
            <a:extLst>
              <a:ext uri="{FF2B5EF4-FFF2-40B4-BE49-F238E27FC236}">
                <a16:creationId xmlns:a16="http://schemas.microsoft.com/office/drawing/2014/main" id="{894C735B-36C1-C94E-B6F4-47AF876BD4EA}"/>
              </a:ext>
            </a:extLst>
          </p:cNvPr>
          <p:cNvSpPr/>
          <p:nvPr userDrawn="1"/>
        </p:nvSpPr>
        <p:spPr>
          <a:xfrm flipV="1">
            <a:off x="7516084" y="-154764"/>
            <a:ext cx="5118410" cy="7142159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476DB6">
              <a:alpha val="9111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sp>
        <p:nvSpPr>
          <p:cNvPr id="14" name="Triangolo 3">
            <a:extLst>
              <a:ext uri="{FF2B5EF4-FFF2-40B4-BE49-F238E27FC236}">
                <a16:creationId xmlns:a16="http://schemas.microsoft.com/office/drawing/2014/main" id="{8CCB9C25-2A20-DE4D-A418-89A902A05CB2}"/>
              </a:ext>
            </a:extLst>
          </p:cNvPr>
          <p:cNvSpPr/>
          <p:nvPr userDrawn="1"/>
        </p:nvSpPr>
        <p:spPr>
          <a:xfrm rot="5400000" flipH="1" flipV="1">
            <a:off x="552400" y="-707160"/>
            <a:ext cx="1707415" cy="2812213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405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88987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riangolo 3">
            <a:extLst>
              <a:ext uri="{FF2B5EF4-FFF2-40B4-BE49-F238E27FC236}">
                <a16:creationId xmlns:a16="http://schemas.microsoft.com/office/drawing/2014/main" id="{4A1D4B6D-5583-6946-B8B0-562BF5E76E7B}"/>
              </a:ext>
            </a:extLst>
          </p:cNvPr>
          <p:cNvSpPr/>
          <p:nvPr userDrawn="1"/>
        </p:nvSpPr>
        <p:spPr>
          <a:xfrm rot="20210384">
            <a:off x="-2607017" y="4722820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Segnaposto testo 20">
            <a:extLst>
              <a:ext uri="{FF2B5EF4-FFF2-40B4-BE49-F238E27FC236}">
                <a16:creationId xmlns:a16="http://schemas.microsoft.com/office/drawing/2014/main" id="{8B727156-FEEE-A640-9610-2DF6342436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669" y="2179952"/>
            <a:ext cx="5511331" cy="644850"/>
          </a:xfrm>
          <a:noFill/>
        </p:spPr>
        <p:txBody>
          <a:bodyPr wrap="square" lIns="0" rtlCol="0" anchor="ctr">
            <a:noAutofit/>
          </a:bodyPr>
          <a:lstStyle>
            <a:lvl1pPr marL="0" indent="0">
              <a:buNone/>
              <a:defRPr lang="it-IT" sz="2400" b="0" dirty="0">
                <a:solidFill>
                  <a:srgbClr val="CDA73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il testo</a:t>
            </a:r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6D580878-EF8E-B746-B8C9-C877BF1B67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669" y="2928067"/>
            <a:ext cx="9123218" cy="1200329"/>
          </a:xfrm>
        </p:spPr>
        <p:txBody>
          <a:bodyPr wrap="square">
            <a:spAutoFit/>
          </a:bodyPr>
          <a:lstStyle>
            <a:lvl1pPr>
              <a:defRPr lang="it-IT" sz="4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LO STILE DEL TITOLO DELLO SCHEMA</a:t>
            </a:r>
          </a:p>
        </p:txBody>
      </p:sp>
      <p:sp>
        <p:nvSpPr>
          <p:cNvPr id="4" name="Triangolo 3">
            <a:extLst>
              <a:ext uri="{FF2B5EF4-FFF2-40B4-BE49-F238E27FC236}">
                <a16:creationId xmlns:a16="http://schemas.microsoft.com/office/drawing/2014/main" id="{B332F31B-8B5E-4348-BFE2-218027F29EB9}"/>
              </a:ext>
            </a:extLst>
          </p:cNvPr>
          <p:cNvSpPr/>
          <p:nvPr userDrawn="1"/>
        </p:nvSpPr>
        <p:spPr>
          <a:xfrm rot="20210384">
            <a:off x="8111317" y="-2604198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Triangolo 3">
            <a:extLst>
              <a:ext uri="{FF2B5EF4-FFF2-40B4-BE49-F238E27FC236}">
                <a16:creationId xmlns:a16="http://schemas.microsoft.com/office/drawing/2014/main" id="{D75E7B67-284F-BC4D-A238-BC02D3DF9B51}"/>
              </a:ext>
            </a:extLst>
          </p:cNvPr>
          <p:cNvSpPr/>
          <p:nvPr userDrawn="1"/>
        </p:nvSpPr>
        <p:spPr>
          <a:xfrm rot="4332893" flipV="1">
            <a:off x="3413993" y="3487389"/>
            <a:ext cx="3464570" cy="5706350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476DB6">
              <a:alpha val="9111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596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riangolo 3">
            <a:extLst>
              <a:ext uri="{FF2B5EF4-FFF2-40B4-BE49-F238E27FC236}">
                <a16:creationId xmlns:a16="http://schemas.microsoft.com/office/drawing/2014/main" id="{16160AA9-8282-DA4C-909B-F790731EAD07}"/>
              </a:ext>
            </a:extLst>
          </p:cNvPr>
          <p:cNvSpPr/>
          <p:nvPr userDrawn="1"/>
        </p:nvSpPr>
        <p:spPr>
          <a:xfrm rot="16200000" flipH="1">
            <a:off x="-340004" y="1272111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867252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7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052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9494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3929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 descr="Immagine che contiene montagna, cielo, esterni, uomo&#10;&#10;Descrizione generata automaticamente">
            <a:extLst>
              <a:ext uri="{FF2B5EF4-FFF2-40B4-BE49-F238E27FC236}">
                <a16:creationId xmlns:a16="http://schemas.microsoft.com/office/drawing/2014/main" id="{60CCCDFD-DE98-4F4E-BB2D-5A559977F5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2401" y="-57275"/>
            <a:ext cx="12406845" cy="7007719"/>
          </a:xfrm>
          <a:prstGeom prst="rect">
            <a:avLst/>
          </a:prstGeom>
        </p:spPr>
      </p:pic>
      <p:sp>
        <p:nvSpPr>
          <p:cNvPr id="6" name="Rectangle 4">
            <a:extLst>
              <a:ext uri="{FF2B5EF4-FFF2-40B4-BE49-F238E27FC236}">
                <a16:creationId xmlns:a16="http://schemas.microsoft.com/office/drawing/2014/main" id="{37420C44-0863-4F1D-B8E8-A6171A05F533}"/>
              </a:ext>
            </a:extLst>
          </p:cNvPr>
          <p:cNvSpPr/>
          <p:nvPr userDrawn="1"/>
        </p:nvSpPr>
        <p:spPr>
          <a:xfrm>
            <a:off x="-152401" y="-57275"/>
            <a:ext cx="12393466" cy="7007719"/>
          </a:xfrm>
          <a:prstGeom prst="rect">
            <a:avLst/>
          </a:prstGeom>
          <a:solidFill>
            <a:srgbClr val="476DB6">
              <a:alpha val="7490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sz="1600">
              <a:solidFill>
                <a:schemeClr val="bg1"/>
              </a:solidFill>
            </a:endParaRPr>
          </a:p>
        </p:txBody>
      </p:sp>
      <p:sp>
        <p:nvSpPr>
          <p:cNvPr id="7" name="Segnaposto testo 5">
            <a:extLst>
              <a:ext uri="{FF2B5EF4-FFF2-40B4-BE49-F238E27FC236}">
                <a16:creationId xmlns:a16="http://schemas.microsoft.com/office/drawing/2014/main" id="{BB960975-98BC-43E7-99EE-DDC6BBC6D4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159" y="3825087"/>
            <a:ext cx="4992687" cy="946135"/>
          </a:xfrm>
          <a:solidFill>
            <a:schemeClr val="bg2"/>
          </a:solidFill>
        </p:spPr>
        <p:txBody>
          <a:bodyPr wrap="square" lIns="360000" rtlCol="0" anchor="ctr">
            <a:noAutofit/>
          </a:bodyPr>
          <a:lstStyle>
            <a:lvl1pPr>
              <a:defRPr lang="it-IT" sz="3600" smtClean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</a:defRPr>
            </a:lvl1pPr>
            <a:lvl2pPr marL="114300" indent="0">
              <a:buNone/>
              <a:defRPr lang="it-IT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it-IT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it-IT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it-IT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/>
              <a:t>Fare clic per modifica</a:t>
            </a:r>
          </a:p>
        </p:txBody>
      </p:sp>
      <p:sp>
        <p:nvSpPr>
          <p:cNvPr id="8" name="Segnaposto testo 5">
            <a:extLst>
              <a:ext uri="{FF2B5EF4-FFF2-40B4-BE49-F238E27FC236}">
                <a16:creationId xmlns:a16="http://schemas.microsoft.com/office/drawing/2014/main" id="{04D0533A-67FD-41AB-B27C-38D2599733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9297" y="4868057"/>
            <a:ext cx="2009103" cy="688952"/>
          </a:xfrm>
          <a:solidFill>
            <a:schemeClr val="bg2"/>
          </a:solidFill>
        </p:spPr>
        <p:txBody>
          <a:bodyPr wrap="square" lIns="360000" rtlCol="0" anchor="ctr">
            <a:noAutofit/>
          </a:bodyPr>
          <a:lstStyle>
            <a:lvl1pPr>
              <a:defRPr lang="it-IT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</a:defRPr>
            </a:lvl1pPr>
          </a:lstStyle>
          <a:p>
            <a:pPr lvl="0"/>
            <a:r>
              <a:rPr lang="it-IT"/>
              <a:t>FARE</a:t>
            </a:r>
          </a:p>
        </p:txBody>
      </p:sp>
    </p:spTree>
    <p:extLst>
      <p:ext uri="{BB962C8B-B14F-4D97-AF65-F5344CB8AC3E}">
        <p14:creationId xmlns:p14="http://schemas.microsoft.com/office/powerpoint/2010/main" val="11900256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9592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5335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7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281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8625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7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4692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3355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7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4050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5828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2516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>
            <a:extLst>
              <a:ext uri="{FF2B5EF4-FFF2-40B4-BE49-F238E27FC236}">
                <a16:creationId xmlns:a16="http://schemas.microsoft.com/office/drawing/2014/main" id="{843F6EDA-C372-6747-8EB0-AB6800F251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847" y="512273"/>
            <a:ext cx="11532865" cy="424732"/>
          </a:xfrm>
          <a:noFill/>
        </p:spPr>
        <p:txBody>
          <a:bodyPr wrap="square" lIns="0" rtlCol="0">
            <a:spAutoFit/>
          </a:bodyPr>
          <a:lstStyle>
            <a:lvl1pPr>
              <a:defRPr lang="it-IT" sz="2400" b="1" dirty="0">
                <a:solidFill>
                  <a:srgbClr val="0A26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68416CD-683D-1B41-85C7-43BB3E681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847" y="254521"/>
            <a:ext cx="8494999" cy="237757"/>
          </a:xfrm>
          <a:noFill/>
        </p:spPr>
        <p:txBody>
          <a:bodyPr wrap="square" lIns="0" rtlCol="0">
            <a:spAutoFit/>
          </a:bodyPr>
          <a:lstStyle>
            <a:lvl1pPr marL="0" indent="0">
              <a:buFont typeface="+mj-lt"/>
              <a:buNone/>
              <a:defRPr lang="it-IT" sz="10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GLI STILI DEL TESTO DELLO SCHEMA</a:t>
            </a:r>
          </a:p>
        </p:txBody>
      </p:sp>
      <p:sp>
        <p:nvSpPr>
          <p:cNvPr id="13" name="Footer Placeholder 83">
            <a:extLst>
              <a:ext uri="{FF2B5EF4-FFF2-40B4-BE49-F238E27FC236}">
                <a16:creationId xmlns:a16="http://schemas.microsoft.com/office/drawing/2014/main" id="{04D5A9D0-7D27-6043-94AF-A609E50211B4}"/>
              </a:ext>
            </a:extLst>
          </p:cNvPr>
          <p:cNvSpPr txBox="1"/>
          <p:nvPr userDrawn="1"/>
        </p:nvSpPr>
        <p:spPr>
          <a:xfrm>
            <a:off x="451474" y="6464980"/>
            <a:ext cx="4114801" cy="138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9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Copyright © 202</a:t>
            </a:r>
            <a:r>
              <a:rPr kumimoji="0" lang="it-IT" sz="9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2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 </a:t>
            </a:r>
            <a:r>
              <a:rPr kumimoji="0" lang="it-IT" sz="9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Italia domani</a:t>
            </a:r>
            <a:r>
              <a:rPr kumimoji="0" sz="9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001038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218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4219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 descr="Immagine che contiene montagna, cielo, esterni, uomo&#10;&#10;Descrizione generata automaticamente">
            <a:extLst>
              <a:ext uri="{FF2B5EF4-FFF2-40B4-BE49-F238E27FC236}">
                <a16:creationId xmlns:a16="http://schemas.microsoft.com/office/drawing/2014/main" id="{60CCCDFD-DE98-4F4E-BB2D-5A559977F5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2401" y="-57275"/>
            <a:ext cx="12406845" cy="7007719"/>
          </a:xfrm>
          <a:prstGeom prst="rect">
            <a:avLst/>
          </a:prstGeom>
        </p:spPr>
      </p:pic>
      <p:sp>
        <p:nvSpPr>
          <p:cNvPr id="6" name="Rectangle 4">
            <a:extLst>
              <a:ext uri="{FF2B5EF4-FFF2-40B4-BE49-F238E27FC236}">
                <a16:creationId xmlns:a16="http://schemas.microsoft.com/office/drawing/2014/main" id="{37420C44-0863-4F1D-B8E8-A6171A05F533}"/>
              </a:ext>
            </a:extLst>
          </p:cNvPr>
          <p:cNvSpPr/>
          <p:nvPr userDrawn="1"/>
        </p:nvSpPr>
        <p:spPr>
          <a:xfrm>
            <a:off x="-152401" y="-57275"/>
            <a:ext cx="12393466" cy="7007719"/>
          </a:xfrm>
          <a:prstGeom prst="rect">
            <a:avLst/>
          </a:prstGeom>
          <a:solidFill>
            <a:srgbClr val="476DB6">
              <a:alpha val="7490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sz="1600">
              <a:solidFill>
                <a:schemeClr val="bg1"/>
              </a:solidFill>
            </a:endParaRPr>
          </a:p>
        </p:txBody>
      </p:sp>
      <p:sp>
        <p:nvSpPr>
          <p:cNvPr id="7" name="Segnaposto testo 5">
            <a:extLst>
              <a:ext uri="{FF2B5EF4-FFF2-40B4-BE49-F238E27FC236}">
                <a16:creationId xmlns:a16="http://schemas.microsoft.com/office/drawing/2014/main" id="{BB960975-98BC-43E7-99EE-DDC6BBC6D4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159" y="3825087"/>
            <a:ext cx="4992687" cy="946135"/>
          </a:xfrm>
          <a:solidFill>
            <a:schemeClr val="bg2"/>
          </a:solidFill>
        </p:spPr>
        <p:txBody>
          <a:bodyPr wrap="square" lIns="360000" rtlCol="0" anchor="ctr">
            <a:noAutofit/>
          </a:bodyPr>
          <a:lstStyle>
            <a:lvl1pPr>
              <a:defRPr lang="it-IT" sz="3600" smtClean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</a:defRPr>
            </a:lvl1pPr>
            <a:lvl2pPr marL="114300" indent="0">
              <a:buNone/>
              <a:defRPr lang="it-IT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it-IT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it-IT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it-IT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/>
              <a:t>Fare clic per modifica</a:t>
            </a:r>
          </a:p>
        </p:txBody>
      </p:sp>
      <p:sp>
        <p:nvSpPr>
          <p:cNvPr id="8" name="Segnaposto testo 5">
            <a:extLst>
              <a:ext uri="{FF2B5EF4-FFF2-40B4-BE49-F238E27FC236}">
                <a16:creationId xmlns:a16="http://schemas.microsoft.com/office/drawing/2014/main" id="{04D0533A-67FD-41AB-B27C-38D2599733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9297" y="4868057"/>
            <a:ext cx="2009103" cy="688952"/>
          </a:xfrm>
          <a:solidFill>
            <a:schemeClr val="bg2"/>
          </a:solidFill>
        </p:spPr>
        <p:txBody>
          <a:bodyPr wrap="square" lIns="360000" rtlCol="0" anchor="ctr">
            <a:noAutofit/>
          </a:bodyPr>
          <a:lstStyle>
            <a:lvl1pPr>
              <a:defRPr lang="it-IT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</a:defRPr>
            </a:lvl1pPr>
          </a:lstStyle>
          <a:p>
            <a:pPr lvl="0"/>
            <a:r>
              <a:rPr lang="it-IT"/>
              <a:t>FARE</a:t>
            </a:r>
          </a:p>
        </p:txBody>
      </p:sp>
    </p:spTree>
    <p:extLst>
      <p:ext uri="{BB962C8B-B14F-4D97-AF65-F5344CB8AC3E}">
        <p14:creationId xmlns:p14="http://schemas.microsoft.com/office/powerpoint/2010/main" val="35839241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3434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3565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iangolo 3">
            <a:extLst>
              <a:ext uri="{FF2B5EF4-FFF2-40B4-BE49-F238E27FC236}">
                <a16:creationId xmlns:a16="http://schemas.microsoft.com/office/drawing/2014/main" id="{467C3E0D-F122-B446-8F3E-8919F8343E54}"/>
              </a:ext>
            </a:extLst>
          </p:cNvPr>
          <p:cNvSpPr/>
          <p:nvPr userDrawn="1"/>
        </p:nvSpPr>
        <p:spPr>
          <a:xfrm>
            <a:off x="7368226" y="-154761"/>
            <a:ext cx="5118410" cy="7142157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Triangolo 3">
            <a:extLst>
              <a:ext uri="{FF2B5EF4-FFF2-40B4-BE49-F238E27FC236}">
                <a16:creationId xmlns:a16="http://schemas.microsoft.com/office/drawing/2014/main" id="{894C735B-36C1-C94E-B6F4-47AF876BD4EA}"/>
              </a:ext>
            </a:extLst>
          </p:cNvPr>
          <p:cNvSpPr/>
          <p:nvPr userDrawn="1"/>
        </p:nvSpPr>
        <p:spPr>
          <a:xfrm flipV="1">
            <a:off x="7516084" y="-154764"/>
            <a:ext cx="5118410" cy="7142159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476DB6">
              <a:alpha val="9111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sp>
        <p:nvSpPr>
          <p:cNvPr id="14" name="Triangolo 3">
            <a:extLst>
              <a:ext uri="{FF2B5EF4-FFF2-40B4-BE49-F238E27FC236}">
                <a16:creationId xmlns:a16="http://schemas.microsoft.com/office/drawing/2014/main" id="{8CCB9C25-2A20-DE4D-A418-89A902A05CB2}"/>
              </a:ext>
            </a:extLst>
          </p:cNvPr>
          <p:cNvSpPr/>
          <p:nvPr userDrawn="1"/>
        </p:nvSpPr>
        <p:spPr>
          <a:xfrm rot="5400000" flipH="1" flipV="1">
            <a:off x="552400" y="-707160"/>
            <a:ext cx="1707415" cy="2812213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405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33886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riangolo 3">
            <a:extLst>
              <a:ext uri="{FF2B5EF4-FFF2-40B4-BE49-F238E27FC236}">
                <a16:creationId xmlns:a16="http://schemas.microsoft.com/office/drawing/2014/main" id="{4A1D4B6D-5583-6946-B8B0-562BF5E76E7B}"/>
              </a:ext>
            </a:extLst>
          </p:cNvPr>
          <p:cNvSpPr/>
          <p:nvPr userDrawn="1"/>
        </p:nvSpPr>
        <p:spPr>
          <a:xfrm rot="20210384">
            <a:off x="-2607017" y="4722820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Segnaposto testo 20">
            <a:extLst>
              <a:ext uri="{FF2B5EF4-FFF2-40B4-BE49-F238E27FC236}">
                <a16:creationId xmlns:a16="http://schemas.microsoft.com/office/drawing/2014/main" id="{8B727156-FEEE-A640-9610-2DF6342436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669" y="2179952"/>
            <a:ext cx="5511331" cy="644850"/>
          </a:xfrm>
          <a:noFill/>
        </p:spPr>
        <p:txBody>
          <a:bodyPr wrap="square" lIns="0" rtlCol="0" anchor="ctr">
            <a:noAutofit/>
          </a:bodyPr>
          <a:lstStyle>
            <a:lvl1pPr marL="0" indent="0">
              <a:buNone/>
              <a:defRPr lang="it-IT" sz="2400" b="0" dirty="0">
                <a:solidFill>
                  <a:srgbClr val="CDA73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il testo</a:t>
            </a:r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6D580878-EF8E-B746-B8C9-C877BF1B67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669" y="2928067"/>
            <a:ext cx="9123218" cy="1200329"/>
          </a:xfrm>
        </p:spPr>
        <p:txBody>
          <a:bodyPr wrap="square">
            <a:spAutoFit/>
          </a:bodyPr>
          <a:lstStyle>
            <a:lvl1pPr>
              <a:defRPr lang="it-IT" sz="4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LO STILE DEL TITOLO DELLO SCHEMA</a:t>
            </a:r>
          </a:p>
        </p:txBody>
      </p:sp>
      <p:sp>
        <p:nvSpPr>
          <p:cNvPr id="4" name="Triangolo 3">
            <a:extLst>
              <a:ext uri="{FF2B5EF4-FFF2-40B4-BE49-F238E27FC236}">
                <a16:creationId xmlns:a16="http://schemas.microsoft.com/office/drawing/2014/main" id="{B332F31B-8B5E-4348-BFE2-218027F29EB9}"/>
              </a:ext>
            </a:extLst>
          </p:cNvPr>
          <p:cNvSpPr/>
          <p:nvPr userDrawn="1"/>
        </p:nvSpPr>
        <p:spPr>
          <a:xfrm rot="20210384">
            <a:off x="8111317" y="-2604198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Triangolo 3">
            <a:extLst>
              <a:ext uri="{FF2B5EF4-FFF2-40B4-BE49-F238E27FC236}">
                <a16:creationId xmlns:a16="http://schemas.microsoft.com/office/drawing/2014/main" id="{D75E7B67-284F-BC4D-A238-BC02D3DF9B51}"/>
              </a:ext>
            </a:extLst>
          </p:cNvPr>
          <p:cNvSpPr/>
          <p:nvPr userDrawn="1"/>
        </p:nvSpPr>
        <p:spPr>
          <a:xfrm rot="4332893" flipV="1">
            <a:off x="3413993" y="3487389"/>
            <a:ext cx="3464570" cy="5706350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476DB6">
              <a:alpha val="9111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596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riangolo 3">
            <a:extLst>
              <a:ext uri="{FF2B5EF4-FFF2-40B4-BE49-F238E27FC236}">
                <a16:creationId xmlns:a16="http://schemas.microsoft.com/office/drawing/2014/main" id="{16160AA9-8282-DA4C-909B-F790731EAD07}"/>
              </a:ext>
            </a:extLst>
          </p:cNvPr>
          <p:cNvSpPr/>
          <p:nvPr userDrawn="1"/>
        </p:nvSpPr>
        <p:spPr>
          <a:xfrm rot="16200000" flipH="1">
            <a:off x="-340004" y="1272111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419715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17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5532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riangolo 3">
            <a:extLst>
              <a:ext uri="{FF2B5EF4-FFF2-40B4-BE49-F238E27FC236}">
                <a16:creationId xmlns:a16="http://schemas.microsoft.com/office/drawing/2014/main" id="{467C3E0D-F122-B446-8F3E-8919F8343E54}"/>
              </a:ext>
            </a:extLst>
          </p:cNvPr>
          <p:cNvSpPr/>
          <p:nvPr userDrawn="1"/>
        </p:nvSpPr>
        <p:spPr>
          <a:xfrm>
            <a:off x="7368226" y="-154761"/>
            <a:ext cx="5118410" cy="7142157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Triangolo 3">
            <a:extLst>
              <a:ext uri="{FF2B5EF4-FFF2-40B4-BE49-F238E27FC236}">
                <a16:creationId xmlns:a16="http://schemas.microsoft.com/office/drawing/2014/main" id="{894C735B-36C1-C94E-B6F4-47AF876BD4EA}"/>
              </a:ext>
            </a:extLst>
          </p:cNvPr>
          <p:cNvSpPr/>
          <p:nvPr userDrawn="1"/>
        </p:nvSpPr>
        <p:spPr>
          <a:xfrm flipV="1">
            <a:off x="7516084" y="-154764"/>
            <a:ext cx="5118410" cy="7142159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476DB6">
              <a:alpha val="9111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sp>
        <p:nvSpPr>
          <p:cNvPr id="14" name="Triangolo 3">
            <a:extLst>
              <a:ext uri="{FF2B5EF4-FFF2-40B4-BE49-F238E27FC236}">
                <a16:creationId xmlns:a16="http://schemas.microsoft.com/office/drawing/2014/main" id="{8CCB9C25-2A20-DE4D-A418-89A902A05CB2}"/>
              </a:ext>
            </a:extLst>
          </p:cNvPr>
          <p:cNvSpPr/>
          <p:nvPr userDrawn="1"/>
        </p:nvSpPr>
        <p:spPr>
          <a:xfrm rot="5400000" flipH="1" flipV="1">
            <a:off x="552400" y="-707160"/>
            <a:ext cx="1707415" cy="2812213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9902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19357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riangolo 3">
            <a:extLst>
              <a:ext uri="{FF2B5EF4-FFF2-40B4-BE49-F238E27FC236}">
                <a16:creationId xmlns:a16="http://schemas.microsoft.com/office/drawing/2014/main" id="{4A1D4B6D-5583-6946-B8B0-562BF5E76E7B}"/>
              </a:ext>
            </a:extLst>
          </p:cNvPr>
          <p:cNvSpPr/>
          <p:nvPr userDrawn="1"/>
        </p:nvSpPr>
        <p:spPr>
          <a:xfrm rot="20210384">
            <a:off x="-2607017" y="4722820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Segnaposto testo 20">
            <a:extLst>
              <a:ext uri="{FF2B5EF4-FFF2-40B4-BE49-F238E27FC236}">
                <a16:creationId xmlns:a16="http://schemas.microsoft.com/office/drawing/2014/main" id="{8B727156-FEEE-A640-9610-2DF6342436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4669" y="2179952"/>
            <a:ext cx="5511331" cy="644850"/>
          </a:xfrm>
          <a:noFill/>
        </p:spPr>
        <p:txBody>
          <a:bodyPr wrap="square" lIns="0" rtlCol="0" anchor="ctr">
            <a:noAutofit/>
          </a:bodyPr>
          <a:lstStyle>
            <a:lvl1pPr marL="0" indent="0">
              <a:buNone/>
              <a:defRPr lang="it-IT" sz="2400" b="0" dirty="0">
                <a:solidFill>
                  <a:srgbClr val="CDA73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il testo</a:t>
            </a:r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6D580878-EF8E-B746-B8C9-C877BF1B67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669" y="2928067"/>
            <a:ext cx="9123218" cy="1200329"/>
          </a:xfrm>
        </p:spPr>
        <p:txBody>
          <a:bodyPr wrap="square">
            <a:spAutoFit/>
          </a:bodyPr>
          <a:lstStyle>
            <a:lvl1pPr>
              <a:defRPr lang="it-IT" sz="4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LO STILE DEL TITOLO DELLO SCHEMA</a:t>
            </a:r>
          </a:p>
        </p:txBody>
      </p:sp>
      <p:sp>
        <p:nvSpPr>
          <p:cNvPr id="4" name="Triangolo 3">
            <a:extLst>
              <a:ext uri="{FF2B5EF4-FFF2-40B4-BE49-F238E27FC236}">
                <a16:creationId xmlns:a16="http://schemas.microsoft.com/office/drawing/2014/main" id="{B332F31B-8B5E-4348-BFE2-218027F29EB9}"/>
              </a:ext>
            </a:extLst>
          </p:cNvPr>
          <p:cNvSpPr/>
          <p:nvPr userDrawn="1"/>
        </p:nvSpPr>
        <p:spPr>
          <a:xfrm rot="20210384">
            <a:off x="8111317" y="-2604198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Triangolo 3">
            <a:extLst>
              <a:ext uri="{FF2B5EF4-FFF2-40B4-BE49-F238E27FC236}">
                <a16:creationId xmlns:a16="http://schemas.microsoft.com/office/drawing/2014/main" id="{D75E7B67-284F-BC4D-A238-BC02D3DF9B51}"/>
              </a:ext>
            </a:extLst>
          </p:cNvPr>
          <p:cNvSpPr/>
          <p:nvPr userDrawn="1"/>
        </p:nvSpPr>
        <p:spPr>
          <a:xfrm rot="4332893" flipV="1">
            <a:off x="3413993" y="3487389"/>
            <a:ext cx="3464570" cy="5706350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476DB6">
              <a:alpha val="9111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909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600" b="0" i="0" baseline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riangolo 3">
            <a:extLst>
              <a:ext uri="{FF2B5EF4-FFF2-40B4-BE49-F238E27FC236}">
                <a16:creationId xmlns:a16="http://schemas.microsoft.com/office/drawing/2014/main" id="{16160AA9-8282-DA4C-909B-F790731EAD07}"/>
              </a:ext>
            </a:extLst>
          </p:cNvPr>
          <p:cNvSpPr/>
          <p:nvPr userDrawn="1"/>
        </p:nvSpPr>
        <p:spPr>
          <a:xfrm rot="16200000" flipH="1">
            <a:off x="-340004" y="1272111"/>
            <a:ext cx="5118410" cy="8430322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952433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E87BDAC-78C4-0546-9A9D-4080749477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3827" y="1969233"/>
            <a:ext cx="5100471" cy="1162352"/>
          </a:xfrm>
          <a:prstGeom prst="rect">
            <a:avLst/>
          </a:prstGeom>
        </p:spPr>
      </p:pic>
      <p:sp>
        <p:nvSpPr>
          <p:cNvPr id="10" name="Titolo 4">
            <a:extLst>
              <a:ext uri="{FF2B5EF4-FFF2-40B4-BE49-F238E27FC236}">
                <a16:creationId xmlns:a16="http://schemas.microsoft.com/office/drawing/2014/main" id="{BFDDA650-6BCD-2C4D-829F-5863959614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732" y="3236414"/>
            <a:ext cx="9123218" cy="12003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it-IT" sz="4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156484776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20">
            <a:extLst>
              <a:ext uri="{FF2B5EF4-FFF2-40B4-BE49-F238E27FC236}">
                <a16:creationId xmlns:a16="http://schemas.microsoft.com/office/drawing/2014/main" id="{AD5C3BD3-FF07-7547-BC43-B7AFB6C2AA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2347" y="2582601"/>
            <a:ext cx="1614773" cy="1349091"/>
          </a:xfrm>
          <a:prstGeom prst="rect">
            <a:avLst/>
          </a:prstGeom>
          <a:noFill/>
        </p:spPr>
        <p:txBody>
          <a:bodyPr wrap="square" lIns="0" rtlCol="0" anchor="ctr">
            <a:noAutofit/>
          </a:bodyPr>
          <a:lstStyle>
            <a:lvl1pPr marL="0" indent="0">
              <a:buNone/>
              <a:defRPr lang="it-IT" sz="6600" b="1" dirty="0">
                <a:solidFill>
                  <a:srgbClr val="CDA73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01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939833D-2BF8-1C46-8669-B2413C4257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2027" y="1745777"/>
            <a:ext cx="3832059" cy="873293"/>
          </a:xfrm>
          <a:prstGeom prst="rect">
            <a:avLst/>
          </a:prstGeom>
        </p:spPr>
      </p:pic>
      <p:sp>
        <p:nvSpPr>
          <p:cNvPr id="9" name="Titolo 4">
            <a:extLst>
              <a:ext uri="{FF2B5EF4-FFF2-40B4-BE49-F238E27FC236}">
                <a16:creationId xmlns:a16="http://schemas.microsoft.com/office/drawing/2014/main" id="{D3A41DFD-036F-E147-B749-0E96C914CB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1226" y="3640713"/>
            <a:ext cx="7365333" cy="1754326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it-IT" sz="4000" b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/>
            <a:r>
              <a:rPr lang="it-IT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8126136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>
            <a:extLst>
              <a:ext uri="{FF2B5EF4-FFF2-40B4-BE49-F238E27FC236}">
                <a16:creationId xmlns:a16="http://schemas.microsoft.com/office/drawing/2014/main" id="{843F6EDA-C372-6747-8EB0-AB6800F251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847" y="512273"/>
            <a:ext cx="11532865" cy="424732"/>
          </a:xfrm>
          <a:noFill/>
        </p:spPr>
        <p:txBody>
          <a:bodyPr wrap="square" lIns="0" rtlCol="0">
            <a:spAutoFit/>
          </a:bodyPr>
          <a:lstStyle>
            <a:lvl1pPr>
              <a:defRPr lang="it-IT" sz="2400" b="1" dirty="0">
                <a:solidFill>
                  <a:srgbClr val="0A26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68416CD-683D-1B41-85C7-43BB3E681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847" y="254521"/>
            <a:ext cx="8494999" cy="237757"/>
          </a:xfrm>
          <a:noFill/>
        </p:spPr>
        <p:txBody>
          <a:bodyPr wrap="square" lIns="0" rtlCol="0">
            <a:spAutoFit/>
          </a:bodyPr>
          <a:lstStyle>
            <a:lvl1pPr marL="0" indent="0">
              <a:buFont typeface="+mj-lt"/>
              <a:buNone/>
              <a:defRPr lang="it-IT" sz="10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GLI STILI DEL TESTO DELLO SCHEMA</a:t>
            </a:r>
          </a:p>
        </p:txBody>
      </p:sp>
      <p:sp>
        <p:nvSpPr>
          <p:cNvPr id="13" name="Footer Placeholder 83">
            <a:extLst>
              <a:ext uri="{FF2B5EF4-FFF2-40B4-BE49-F238E27FC236}">
                <a16:creationId xmlns:a16="http://schemas.microsoft.com/office/drawing/2014/main" id="{04D5A9D0-7D27-6043-94AF-A609E50211B4}"/>
              </a:ext>
            </a:extLst>
          </p:cNvPr>
          <p:cNvSpPr txBox="1"/>
          <p:nvPr userDrawn="1"/>
        </p:nvSpPr>
        <p:spPr>
          <a:xfrm>
            <a:off x="451474" y="6464980"/>
            <a:ext cx="4114801" cy="138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9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Copyright © 2021 </a:t>
            </a:r>
            <a:r>
              <a:rPr kumimoji="0" lang="it-IT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Italia domani</a:t>
            </a: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922307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 descr="Immagine che contiene montagna, cielo, esterni, uomo&#10;&#10;Descrizione generata automaticamente">
            <a:extLst>
              <a:ext uri="{FF2B5EF4-FFF2-40B4-BE49-F238E27FC236}">
                <a16:creationId xmlns:a16="http://schemas.microsoft.com/office/drawing/2014/main" id="{60CCCDFD-DE98-4F4E-BB2D-5A559977F5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52401" y="-57275"/>
            <a:ext cx="12406845" cy="7007719"/>
          </a:xfrm>
          <a:prstGeom prst="rect">
            <a:avLst/>
          </a:prstGeom>
        </p:spPr>
      </p:pic>
      <p:sp>
        <p:nvSpPr>
          <p:cNvPr id="6" name="Rectangle 4">
            <a:extLst>
              <a:ext uri="{FF2B5EF4-FFF2-40B4-BE49-F238E27FC236}">
                <a16:creationId xmlns:a16="http://schemas.microsoft.com/office/drawing/2014/main" id="{37420C44-0863-4F1D-B8E8-A6171A05F533}"/>
              </a:ext>
            </a:extLst>
          </p:cNvPr>
          <p:cNvSpPr/>
          <p:nvPr userDrawn="1"/>
        </p:nvSpPr>
        <p:spPr>
          <a:xfrm>
            <a:off x="-152401" y="-57275"/>
            <a:ext cx="12393466" cy="7007719"/>
          </a:xfrm>
          <a:prstGeom prst="rect">
            <a:avLst/>
          </a:prstGeom>
          <a:solidFill>
            <a:srgbClr val="476DB6">
              <a:alpha val="7490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it-IT" sz="1600">
              <a:solidFill>
                <a:schemeClr val="bg1"/>
              </a:solidFill>
            </a:endParaRPr>
          </a:p>
        </p:txBody>
      </p:sp>
      <p:sp>
        <p:nvSpPr>
          <p:cNvPr id="7" name="Segnaposto testo 5">
            <a:extLst>
              <a:ext uri="{FF2B5EF4-FFF2-40B4-BE49-F238E27FC236}">
                <a16:creationId xmlns:a16="http://schemas.microsoft.com/office/drawing/2014/main" id="{BB960975-98BC-43E7-99EE-DDC6BBC6D4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4159" y="3825087"/>
            <a:ext cx="4992687" cy="946135"/>
          </a:xfrm>
          <a:solidFill>
            <a:schemeClr val="bg2"/>
          </a:solidFill>
        </p:spPr>
        <p:txBody>
          <a:bodyPr wrap="square" lIns="360000" rtlCol="0" anchor="ctr">
            <a:noAutofit/>
          </a:bodyPr>
          <a:lstStyle>
            <a:lvl1pPr>
              <a:defRPr lang="it-IT" sz="3600" smtClean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</a:defRPr>
            </a:lvl1pPr>
            <a:lvl2pPr marL="114300" indent="0">
              <a:buNone/>
              <a:defRPr lang="it-IT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it-IT" sz="18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it-IT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it-IT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it-IT"/>
              <a:t>Fare clic per modifica</a:t>
            </a:r>
          </a:p>
        </p:txBody>
      </p:sp>
      <p:sp>
        <p:nvSpPr>
          <p:cNvPr id="8" name="Segnaposto testo 5">
            <a:extLst>
              <a:ext uri="{FF2B5EF4-FFF2-40B4-BE49-F238E27FC236}">
                <a16:creationId xmlns:a16="http://schemas.microsoft.com/office/drawing/2014/main" id="{04D0533A-67FD-41AB-B27C-38D2599733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9297" y="4868057"/>
            <a:ext cx="2009103" cy="688952"/>
          </a:xfrm>
          <a:solidFill>
            <a:schemeClr val="bg2"/>
          </a:solidFill>
        </p:spPr>
        <p:txBody>
          <a:bodyPr wrap="square" lIns="360000" rtlCol="0" anchor="ctr">
            <a:noAutofit/>
          </a:bodyPr>
          <a:lstStyle>
            <a:lvl1pPr>
              <a:defRPr lang="it-IT" sz="36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+mn-ea"/>
              </a:defRPr>
            </a:lvl1pPr>
          </a:lstStyle>
          <a:p>
            <a:pPr lvl="0"/>
            <a:r>
              <a:rPr lang="it-IT"/>
              <a:t>FARE</a:t>
            </a:r>
          </a:p>
        </p:txBody>
      </p:sp>
    </p:spTree>
    <p:extLst>
      <p:ext uri="{BB962C8B-B14F-4D97-AF65-F5344CB8AC3E}">
        <p14:creationId xmlns:p14="http://schemas.microsoft.com/office/powerpoint/2010/main" val="3242078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77016CB3-B9AA-7A4A-A607-67CD2D2C1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D51F40F-55DE-8F46-B60A-0E235D582F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it-IT"/>
              <a:t>Modifica gli stili del testo dello schema
Secondo livello
Terzo livello
Quarto livello
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710214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96" r:id="rId3"/>
    <p:sldLayoutId id="2147483715" r:id="rId4"/>
    <p:sldLayoutId id="2147483697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riangolo 3">
            <a:extLst>
              <a:ext uri="{FF2B5EF4-FFF2-40B4-BE49-F238E27FC236}">
                <a16:creationId xmlns:a16="http://schemas.microsoft.com/office/drawing/2014/main" id="{D79B8E2C-9B9C-B242-A619-534BDAEE360B}"/>
              </a:ext>
            </a:extLst>
          </p:cNvPr>
          <p:cNvSpPr/>
          <p:nvPr userDrawn="1"/>
        </p:nvSpPr>
        <p:spPr>
          <a:xfrm>
            <a:off x="7368226" y="-154761"/>
            <a:ext cx="5118410" cy="7142157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CDA73C">
              <a:alpha val="9576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Triangolo 3">
            <a:extLst>
              <a:ext uri="{FF2B5EF4-FFF2-40B4-BE49-F238E27FC236}">
                <a16:creationId xmlns:a16="http://schemas.microsoft.com/office/drawing/2014/main" id="{CC6AEEBF-A3F9-B449-A26C-8606B739E0B1}"/>
              </a:ext>
            </a:extLst>
          </p:cNvPr>
          <p:cNvSpPr/>
          <p:nvPr userDrawn="1"/>
        </p:nvSpPr>
        <p:spPr>
          <a:xfrm flipV="1">
            <a:off x="7516084" y="-154764"/>
            <a:ext cx="5118410" cy="7142159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476DB6">
              <a:alpha val="9111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  <p:sp>
        <p:nvSpPr>
          <p:cNvPr id="9" name="Triangolo 3">
            <a:extLst>
              <a:ext uri="{FF2B5EF4-FFF2-40B4-BE49-F238E27FC236}">
                <a16:creationId xmlns:a16="http://schemas.microsoft.com/office/drawing/2014/main" id="{DFF0114B-C883-5142-A07F-2F430310A7FB}"/>
              </a:ext>
            </a:extLst>
          </p:cNvPr>
          <p:cNvSpPr/>
          <p:nvPr userDrawn="1"/>
        </p:nvSpPr>
        <p:spPr>
          <a:xfrm rot="5400000" flipH="1" flipV="1">
            <a:off x="552400" y="-707160"/>
            <a:ext cx="1707415" cy="2812213"/>
          </a:xfrm>
          <a:custGeom>
            <a:avLst/>
            <a:gdLst>
              <a:gd name="connsiteX0" fmla="*/ 0 w 8497229"/>
              <a:gd name="connsiteY0" fmla="*/ 7361170 h 7361170"/>
              <a:gd name="connsiteX1" fmla="*/ 4248615 w 8497229"/>
              <a:gd name="connsiteY1" fmla="*/ 0 h 7361170"/>
              <a:gd name="connsiteX2" fmla="*/ 8497229 w 8497229"/>
              <a:gd name="connsiteY2" fmla="*/ 7361170 h 7361170"/>
              <a:gd name="connsiteX3" fmla="*/ 0 w 8497229"/>
              <a:gd name="connsiteY3" fmla="*/ 7361170 h 7361170"/>
              <a:gd name="connsiteX0" fmla="*/ 0 w 8497229"/>
              <a:gd name="connsiteY0" fmla="*/ 5309345 h 5309345"/>
              <a:gd name="connsiteX1" fmla="*/ 1706137 w 8497229"/>
              <a:gd name="connsiteY1" fmla="*/ 0 h 5309345"/>
              <a:gd name="connsiteX2" fmla="*/ 8497229 w 8497229"/>
              <a:gd name="connsiteY2" fmla="*/ 5309345 h 5309345"/>
              <a:gd name="connsiteX3" fmla="*/ 0 w 8497229"/>
              <a:gd name="connsiteY3" fmla="*/ 5309345 h 5309345"/>
              <a:gd name="connsiteX0" fmla="*/ 0 w 6400800"/>
              <a:gd name="connsiteY0" fmla="*/ 5309345 h 5309345"/>
              <a:gd name="connsiteX1" fmla="*/ 1706137 w 6400800"/>
              <a:gd name="connsiteY1" fmla="*/ 0 h 5309345"/>
              <a:gd name="connsiteX2" fmla="*/ 6400800 w 6400800"/>
              <a:gd name="connsiteY2" fmla="*/ 135179 h 5309345"/>
              <a:gd name="connsiteX3" fmla="*/ 0 w 6400800"/>
              <a:gd name="connsiteY3" fmla="*/ 5309345 h 5309345"/>
              <a:gd name="connsiteX0" fmla="*/ 4560849 w 4694663"/>
              <a:gd name="connsiteY0" fmla="*/ 8565501 h 8565501"/>
              <a:gd name="connsiteX1" fmla="*/ 0 w 4694663"/>
              <a:gd name="connsiteY1" fmla="*/ 0 h 8565501"/>
              <a:gd name="connsiteX2" fmla="*/ 4694663 w 4694663"/>
              <a:gd name="connsiteY2" fmla="*/ 135179 h 8565501"/>
              <a:gd name="connsiteX3" fmla="*/ 4560849 w 4694663"/>
              <a:gd name="connsiteY3" fmla="*/ 8565501 h 8565501"/>
              <a:gd name="connsiteX0" fmla="*/ 4984596 w 5118410"/>
              <a:gd name="connsiteY0" fmla="*/ 8430322 h 8430322"/>
              <a:gd name="connsiteX1" fmla="*/ 0 w 5118410"/>
              <a:gd name="connsiteY1" fmla="*/ 20938 h 8430322"/>
              <a:gd name="connsiteX2" fmla="*/ 5118410 w 5118410"/>
              <a:gd name="connsiteY2" fmla="*/ 0 h 8430322"/>
              <a:gd name="connsiteX3" fmla="*/ 4984596 w 5118410"/>
              <a:gd name="connsiteY3" fmla="*/ 8430322 h 8430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8410" h="8430322">
                <a:moveTo>
                  <a:pt x="4984596" y="8430322"/>
                </a:moveTo>
                <a:lnTo>
                  <a:pt x="0" y="20938"/>
                </a:lnTo>
                <a:lnTo>
                  <a:pt x="5118410" y="0"/>
                </a:lnTo>
                <a:lnTo>
                  <a:pt x="4984596" y="8430322"/>
                </a:lnTo>
                <a:close/>
              </a:path>
            </a:pathLst>
          </a:cu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43218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77016CB3-B9AA-7A4A-A607-67CD2D2C1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D51F40F-55DE-8F46-B60A-0E235D582F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it-IT"/>
              <a:t>Modifica gli stili del testo dello schema
Secondo livello
Terzo livello
Quarto livello
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740912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77016CB3-B9AA-7A4A-A607-67CD2D2C1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D51F40F-55DE-8F46-B60A-0E235D582F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it-IT"/>
              <a:t>Modifica gli stili del testo dello schema
Secondo livello
Terzo livello
Quarto livello
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634505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1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625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77016CB3-B9AA-7A4A-A607-67CD2D2C1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D51F40F-55DE-8F46-B60A-0E235D582F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it-IT"/>
              <a:t>Modifica gli stili del testo dello schema
Secondo livello
Terzo livello
Quarto livello
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052921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svg"/><Relationship Id="rId3" Type="http://schemas.openxmlformats.org/officeDocument/2006/relationships/image" Target="../media/image47.svg"/><Relationship Id="rId7" Type="http://schemas.openxmlformats.org/officeDocument/2006/relationships/image" Target="../media/image4.png"/><Relationship Id="rId12" Type="http://schemas.openxmlformats.org/officeDocument/2006/relationships/image" Target="../media/image52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7.svg"/><Relationship Id="rId11" Type="http://schemas.openxmlformats.org/officeDocument/2006/relationships/image" Target="../media/image51.svg"/><Relationship Id="rId5" Type="http://schemas.openxmlformats.org/officeDocument/2006/relationships/image" Target="../media/image36.png"/><Relationship Id="rId15" Type="http://schemas.openxmlformats.org/officeDocument/2006/relationships/image" Target="../media/image55.svg"/><Relationship Id="rId10" Type="http://schemas.openxmlformats.org/officeDocument/2006/relationships/image" Target="../media/image50.png"/><Relationship Id="rId4" Type="http://schemas.openxmlformats.org/officeDocument/2006/relationships/image" Target="../media/image35.jpg"/><Relationship Id="rId9" Type="http://schemas.openxmlformats.org/officeDocument/2006/relationships/image" Target="../media/image49.svg"/><Relationship Id="rId14" Type="http://schemas.openxmlformats.org/officeDocument/2006/relationships/image" Target="../media/image5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2.xml"/><Relationship Id="rId5" Type="http://schemas.openxmlformats.org/officeDocument/2006/relationships/image" Target="../media/image4.png"/><Relationship Id="rId4" Type="http://schemas.openxmlformats.org/officeDocument/2006/relationships/image" Target="../media/image5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13" Type="http://schemas.openxmlformats.org/officeDocument/2006/relationships/image" Target="../media/image65.png"/><Relationship Id="rId3" Type="http://schemas.openxmlformats.org/officeDocument/2006/relationships/image" Target="../media/image5.jpg"/><Relationship Id="rId7" Type="http://schemas.openxmlformats.org/officeDocument/2006/relationships/image" Target="../media/image59.png"/><Relationship Id="rId12" Type="http://schemas.openxmlformats.org/officeDocument/2006/relationships/image" Target="../media/image64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68.sv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8.svg"/><Relationship Id="rId11" Type="http://schemas.openxmlformats.org/officeDocument/2006/relationships/image" Target="../media/image63.png"/><Relationship Id="rId5" Type="http://schemas.openxmlformats.org/officeDocument/2006/relationships/image" Target="../media/image57.png"/><Relationship Id="rId15" Type="http://schemas.openxmlformats.org/officeDocument/2006/relationships/image" Target="../media/image67.png"/><Relationship Id="rId10" Type="http://schemas.openxmlformats.org/officeDocument/2006/relationships/image" Target="../media/image62.svg"/><Relationship Id="rId4" Type="http://schemas.openxmlformats.org/officeDocument/2006/relationships/image" Target="../media/image4.png"/><Relationship Id="rId9" Type="http://schemas.openxmlformats.org/officeDocument/2006/relationships/image" Target="../media/image61.png"/><Relationship Id="rId14" Type="http://schemas.openxmlformats.org/officeDocument/2006/relationships/image" Target="../media/image66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13" Type="http://schemas.openxmlformats.org/officeDocument/2006/relationships/image" Target="../media/image80.svg"/><Relationship Id="rId3" Type="http://schemas.openxmlformats.org/officeDocument/2006/relationships/image" Target="../media/image70.png"/><Relationship Id="rId7" Type="http://schemas.openxmlformats.org/officeDocument/2006/relationships/image" Target="../media/image74.svg"/><Relationship Id="rId12" Type="http://schemas.openxmlformats.org/officeDocument/2006/relationships/image" Target="../media/image79.png"/><Relationship Id="rId17" Type="http://schemas.openxmlformats.org/officeDocument/2006/relationships/image" Target="../media/image4.png"/><Relationship Id="rId2" Type="http://schemas.openxmlformats.org/officeDocument/2006/relationships/image" Target="../media/image69.png"/><Relationship Id="rId16" Type="http://schemas.openxmlformats.org/officeDocument/2006/relationships/image" Target="../media/image83.sv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73.png"/><Relationship Id="rId11" Type="http://schemas.openxmlformats.org/officeDocument/2006/relationships/image" Target="../media/image78.svg"/><Relationship Id="rId5" Type="http://schemas.openxmlformats.org/officeDocument/2006/relationships/image" Target="../media/image72.svg"/><Relationship Id="rId15" Type="http://schemas.openxmlformats.org/officeDocument/2006/relationships/image" Target="../media/image82.png"/><Relationship Id="rId10" Type="http://schemas.openxmlformats.org/officeDocument/2006/relationships/image" Target="../media/image77.png"/><Relationship Id="rId4" Type="http://schemas.openxmlformats.org/officeDocument/2006/relationships/image" Target="../media/image71.png"/><Relationship Id="rId9" Type="http://schemas.openxmlformats.org/officeDocument/2006/relationships/image" Target="../media/image76.svg"/><Relationship Id="rId14" Type="http://schemas.openxmlformats.org/officeDocument/2006/relationships/image" Target="../media/image8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image" Target="../media/image84.png"/><Relationship Id="rId7" Type="http://schemas.openxmlformats.org/officeDocument/2006/relationships/image" Target="../media/image8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87.png"/><Relationship Id="rId5" Type="http://schemas.openxmlformats.org/officeDocument/2006/relationships/image" Target="../media/image86.png"/><Relationship Id="rId10" Type="http://schemas.openxmlformats.org/officeDocument/2006/relationships/image" Target="../media/image4.png"/><Relationship Id="rId4" Type="http://schemas.openxmlformats.org/officeDocument/2006/relationships/image" Target="../media/image85.png"/><Relationship Id="rId9" Type="http://schemas.openxmlformats.org/officeDocument/2006/relationships/image" Target="../media/image8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13" Type="http://schemas.openxmlformats.org/officeDocument/2006/relationships/image" Target="../media/image99.svg"/><Relationship Id="rId18" Type="http://schemas.openxmlformats.org/officeDocument/2006/relationships/image" Target="../media/image4.png"/><Relationship Id="rId3" Type="http://schemas.openxmlformats.org/officeDocument/2006/relationships/image" Target="../media/image5.jpg"/><Relationship Id="rId7" Type="http://schemas.openxmlformats.org/officeDocument/2006/relationships/image" Target="../media/image93.svg"/><Relationship Id="rId12" Type="http://schemas.openxmlformats.org/officeDocument/2006/relationships/image" Target="../media/image98.png"/><Relationship Id="rId17" Type="http://schemas.openxmlformats.org/officeDocument/2006/relationships/image" Target="../media/image102.jpe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101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2.png"/><Relationship Id="rId11" Type="http://schemas.openxmlformats.org/officeDocument/2006/relationships/image" Target="../media/image97.svg"/><Relationship Id="rId5" Type="http://schemas.openxmlformats.org/officeDocument/2006/relationships/image" Target="../media/image91.svg"/><Relationship Id="rId15" Type="http://schemas.microsoft.com/office/2007/relationships/hdphoto" Target="../media/hdphoto1.wdp"/><Relationship Id="rId10" Type="http://schemas.openxmlformats.org/officeDocument/2006/relationships/image" Target="../media/image96.png"/><Relationship Id="rId4" Type="http://schemas.openxmlformats.org/officeDocument/2006/relationships/image" Target="../media/image90.png"/><Relationship Id="rId9" Type="http://schemas.openxmlformats.org/officeDocument/2006/relationships/image" Target="../media/image95.svg"/><Relationship Id="rId14" Type="http://schemas.openxmlformats.org/officeDocument/2006/relationships/image" Target="../media/image10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9.tiff"/><Relationship Id="rId4" Type="http://schemas.openxmlformats.org/officeDocument/2006/relationships/image" Target="../media/image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10" Type="http://schemas.openxmlformats.org/officeDocument/2006/relationships/image" Target="../media/image4.png"/><Relationship Id="rId4" Type="http://schemas.openxmlformats.org/officeDocument/2006/relationships/image" Target="../media/image14.jpeg"/><Relationship Id="rId9" Type="http://schemas.openxmlformats.org/officeDocument/2006/relationships/image" Target="../media/image5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png"/><Relationship Id="rId3" Type="http://schemas.openxmlformats.org/officeDocument/2006/relationships/image" Target="../media/image5.jpg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9.sv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svg"/><Relationship Id="rId4" Type="http://schemas.openxmlformats.org/officeDocument/2006/relationships/image" Target="../media/image4.png"/><Relationship Id="rId9" Type="http://schemas.openxmlformats.org/officeDocument/2006/relationships/image" Target="../media/image22.png"/><Relationship Id="rId14" Type="http://schemas.openxmlformats.org/officeDocument/2006/relationships/image" Target="../media/image27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.png"/><Relationship Id="rId5" Type="http://schemas.openxmlformats.org/officeDocument/2006/relationships/image" Target="../media/image5.jpg"/><Relationship Id="rId4" Type="http://schemas.openxmlformats.org/officeDocument/2006/relationships/image" Target="../media/image3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4.png"/><Relationship Id="rId5" Type="http://schemas.openxmlformats.org/officeDocument/2006/relationships/image" Target="../media/image5.jpg"/><Relationship Id="rId4" Type="http://schemas.openxmlformats.org/officeDocument/2006/relationships/image" Target="../media/image33.gi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svg"/><Relationship Id="rId3" Type="http://schemas.openxmlformats.org/officeDocument/2006/relationships/image" Target="../media/image36.png"/><Relationship Id="rId7" Type="http://schemas.openxmlformats.org/officeDocument/2006/relationships/image" Target="../media/image39.svg"/><Relationship Id="rId12" Type="http://schemas.openxmlformats.org/officeDocument/2006/relationships/image" Target="../media/image44.pn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8.png"/><Relationship Id="rId11" Type="http://schemas.openxmlformats.org/officeDocument/2006/relationships/image" Target="../media/image43.svg"/><Relationship Id="rId5" Type="http://schemas.openxmlformats.org/officeDocument/2006/relationships/image" Target="../media/image4.png"/><Relationship Id="rId10" Type="http://schemas.openxmlformats.org/officeDocument/2006/relationships/image" Target="../media/image42.png"/><Relationship Id="rId4" Type="http://schemas.openxmlformats.org/officeDocument/2006/relationships/image" Target="../media/image37.svg"/><Relationship Id="rId9" Type="http://schemas.openxmlformats.org/officeDocument/2006/relationships/image" Target="../media/image4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5C324C2-282C-544A-A15D-7EDD28437F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226" y="3383863"/>
            <a:ext cx="7365333" cy="1754326"/>
          </a:xfrm>
        </p:spPr>
        <p:txBody>
          <a:bodyPr>
            <a:normAutofit fontScale="90000"/>
          </a:bodyPr>
          <a:lstStyle/>
          <a:p>
            <a:r>
              <a:rPr lang="it-IT" sz="4800" dirty="0">
                <a:solidFill>
                  <a:srgbClr val="002060"/>
                </a:solidFill>
                <a:latin typeface="Graphik Black" panose="020B0A03030202060203" pitchFamily="34" charset="0"/>
              </a:rPr>
              <a:t>PNRR E  SERVIZI INDUSTRIALI</a:t>
            </a:r>
            <a:br>
              <a:rPr lang="it-IT" sz="4800" dirty="0">
                <a:solidFill>
                  <a:srgbClr val="002060"/>
                </a:solidFill>
                <a:latin typeface="Graphik Black" panose="020B0A03030202060203" pitchFamily="34" charset="0"/>
              </a:rPr>
            </a:br>
            <a:r>
              <a:rPr lang="it-IT" dirty="0">
                <a:solidFill>
                  <a:srgbClr val="002060"/>
                </a:solidFill>
                <a:latin typeface="Graphik" panose="020B0503030202060203" pitchFamily="34" charset="0"/>
              </a:rPr>
              <a:t>Imprese e opportunità</a:t>
            </a:r>
            <a:endParaRPr lang="en-IT" sz="4800" dirty="0">
              <a:solidFill>
                <a:srgbClr val="002060"/>
              </a:solidFill>
              <a:latin typeface="Graphik" panose="020B0503030202060203" pitchFamily="34" charset="0"/>
            </a:endParaRP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15AAA7B0-2D86-4B79-A4D7-DB07CF0B95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1531" y="1817685"/>
            <a:ext cx="910616" cy="764916"/>
          </a:xfrm>
          <a:prstGeom prst="rect">
            <a:avLst/>
          </a:prstGeom>
        </p:spPr>
      </p:pic>
      <p:sp>
        <p:nvSpPr>
          <p:cNvPr id="5" name="Rettangolo 76">
            <a:extLst>
              <a:ext uri="{FF2B5EF4-FFF2-40B4-BE49-F238E27FC236}">
                <a16:creationId xmlns:a16="http://schemas.microsoft.com/office/drawing/2014/main" id="{961B42C2-5748-4FA9-A1F4-6E14EC4C789D}"/>
              </a:ext>
            </a:extLst>
          </p:cNvPr>
          <p:cNvSpPr/>
          <p:nvPr/>
        </p:nvSpPr>
        <p:spPr>
          <a:xfrm>
            <a:off x="791060" y="5031055"/>
            <a:ext cx="3662413" cy="135137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18 maggio</a:t>
            </a:r>
            <a:r>
              <a:rPr kumimoji="0" lang="it-IT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2022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0A2643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16399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0" y="-26991"/>
            <a:ext cx="12192000" cy="1433107"/>
          </a:xfrm>
          <a:prstGeom prst="rect">
            <a:avLst/>
          </a:prstGeom>
          <a:solidFill>
            <a:srgbClr val="1D3880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A49E13E-206D-4CA2-9095-BB555658C1BC}"/>
              </a:ext>
            </a:extLst>
          </p:cNvPr>
          <p:cNvGrpSpPr/>
          <p:nvPr/>
        </p:nvGrpSpPr>
        <p:grpSpPr>
          <a:xfrm>
            <a:off x="2563940" y="1962913"/>
            <a:ext cx="1974088" cy="562328"/>
            <a:chOff x="2073935" y="1852837"/>
            <a:chExt cx="1974088" cy="562328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2392F6AE-0E56-4310-A157-F9A16D7176AA}"/>
                </a:ext>
              </a:extLst>
            </p:cNvPr>
            <p:cNvSpPr/>
            <p:nvPr/>
          </p:nvSpPr>
          <p:spPr>
            <a:xfrm>
              <a:off x="2119431" y="2173086"/>
              <a:ext cx="901883" cy="242079"/>
            </a:xfrm>
            <a:prstGeom prst="rect">
              <a:avLst/>
            </a:prstGeom>
            <a:solidFill>
              <a:srgbClr val="3551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355188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endParaRPr>
            </a:p>
          </p:txBody>
        </p:sp>
        <p:sp>
          <p:nvSpPr>
            <p:cNvPr id="54" name="Segnaposto testo 4">
              <a:extLst>
                <a:ext uri="{FF2B5EF4-FFF2-40B4-BE49-F238E27FC236}">
                  <a16:creationId xmlns:a16="http://schemas.microsoft.com/office/drawing/2014/main" id="{11124AF1-74CB-4090-8B8A-4804176F81FF}"/>
                </a:ext>
              </a:extLst>
            </p:cNvPr>
            <p:cNvSpPr txBox="1">
              <a:spLocks/>
            </p:cNvSpPr>
            <p:nvPr/>
          </p:nvSpPr>
          <p:spPr>
            <a:xfrm>
              <a:off x="2073935" y="2137481"/>
              <a:ext cx="1572489" cy="239629"/>
            </a:xfrm>
            <a:prstGeom prst="rect">
              <a:avLst/>
            </a:prstGeom>
          </p:spPr>
          <p:txBody>
            <a:bodyPr lIns="91440" tIns="45720" rIns="91440" bIns="45720" anchor="t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  <a:cs typeface="Rubik Bold" panose="020B0604020202020204" charset="-79"/>
                </a:rPr>
                <a:t>17 Target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67083185-B70B-4E97-A679-C515FF21DEA8}"/>
                </a:ext>
              </a:extLst>
            </p:cNvPr>
            <p:cNvSpPr/>
            <p:nvPr/>
          </p:nvSpPr>
          <p:spPr>
            <a:xfrm>
              <a:off x="2114756" y="1870505"/>
              <a:ext cx="1933267" cy="26628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endParaRPr>
            </a:p>
          </p:txBody>
        </p:sp>
        <p:sp>
          <p:nvSpPr>
            <p:cNvPr id="56" name="Segnaposto testo 4">
              <a:extLst>
                <a:ext uri="{FF2B5EF4-FFF2-40B4-BE49-F238E27FC236}">
                  <a16:creationId xmlns:a16="http://schemas.microsoft.com/office/drawing/2014/main" id="{B70B0AC5-78D4-4638-9490-968BADA87542}"/>
                </a:ext>
              </a:extLst>
            </p:cNvPr>
            <p:cNvSpPr txBox="1">
              <a:spLocks/>
            </p:cNvSpPr>
            <p:nvPr/>
          </p:nvSpPr>
          <p:spPr>
            <a:xfrm>
              <a:off x="2107407" y="1852837"/>
              <a:ext cx="1572489" cy="289951"/>
            </a:xfrm>
            <a:prstGeom prst="rect">
              <a:avLst/>
            </a:prstGeom>
          </p:spPr>
          <p:txBody>
            <a:bodyPr lIns="91440" tIns="45720" rIns="91440" bIns="45720" anchor="t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A2542"/>
                  </a:solidFill>
                  <a:effectLst/>
                  <a:uLnTx/>
                  <a:uFillTx/>
                  <a:latin typeface="Graphik" panose="020B0503030202060203" pitchFamily="34" charset="0"/>
                  <a:cs typeface="Rubik Bold" panose="020B0604020202020204" charset="-79"/>
                </a:rPr>
                <a:t>83 Milestone</a:t>
              </a:r>
            </a:p>
          </p:txBody>
        </p:sp>
      </p:grpSp>
      <p:sp>
        <p:nvSpPr>
          <p:cNvPr id="57" name="Rettangolo 46">
            <a:extLst>
              <a:ext uri="{FF2B5EF4-FFF2-40B4-BE49-F238E27FC236}">
                <a16:creationId xmlns:a16="http://schemas.microsoft.com/office/drawing/2014/main" id="{504C79B4-FB75-4B6C-A5C9-94799AD19EA1}"/>
              </a:ext>
            </a:extLst>
          </p:cNvPr>
          <p:cNvSpPr/>
          <p:nvPr/>
        </p:nvSpPr>
        <p:spPr>
          <a:xfrm>
            <a:off x="5096816" y="1819296"/>
            <a:ext cx="2742280" cy="3385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1D3880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rPr>
              <a:t>45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1D3880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rPr>
              <a:t>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1D3880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rPr>
              <a:t>nel primo semestre 2022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srgbClr val="1D3880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 charset="-79"/>
            </a:endParaRPr>
          </a:p>
        </p:txBody>
      </p:sp>
      <p:sp>
        <p:nvSpPr>
          <p:cNvPr id="58" name="Rettangolo 46">
            <a:extLst>
              <a:ext uri="{FF2B5EF4-FFF2-40B4-BE49-F238E27FC236}">
                <a16:creationId xmlns:a16="http://schemas.microsoft.com/office/drawing/2014/main" id="{EB9A5AFD-859E-429E-9FEA-310F81B9BFD0}"/>
              </a:ext>
            </a:extLst>
          </p:cNvPr>
          <p:cNvSpPr/>
          <p:nvPr/>
        </p:nvSpPr>
        <p:spPr>
          <a:xfrm>
            <a:off x="5096816" y="2167872"/>
            <a:ext cx="2849821" cy="3385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1D3880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rPr>
              <a:t>55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1D3880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rPr>
              <a:t>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1D3880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rPr>
              <a:t>nel secondo semestre 2022</a:t>
            </a:r>
            <a:endParaRPr kumimoji="0" lang="it-IT" sz="1050" b="1" i="0" u="none" strike="noStrike" kern="1200" cap="none" spc="0" normalizeH="0" baseline="0" noProof="0" dirty="0">
              <a:ln>
                <a:noFill/>
              </a:ln>
              <a:solidFill>
                <a:srgbClr val="1D3880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 charset="-79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C901BE6-58F5-4C6E-A123-F9628F07A503}"/>
              </a:ext>
            </a:extLst>
          </p:cNvPr>
          <p:cNvGrpSpPr>
            <a:grpSpLocks noChangeAspect="1"/>
          </p:cNvGrpSpPr>
          <p:nvPr/>
        </p:nvGrpSpPr>
        <p:grpSpPr>
          <a:xfrm>
            <a:off x="4823674" y="1861179"/>
            <a:ext cx="273142" cy="273142"/>
            <a:chOff x="2207635" y="2180601"/>
            <a:chExt cx="248311" cy="248311"/>
          </a:xfrm>
        </p:grpSpPr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9A6C96E9-AB76-4481-B1B3-1752D8AF258F}"/>
                </a:ext>
              </a:extLst>
            </p:cNvPr>
            <p:cNvSpPr/>
            <p:nvPr/>
          </p:nvSpPr>
          <p:spPr>
            <a:xfrm>
              <a:off x="2207635" y="2180601"/>
              <a:ext cx="248311" cy="248311"/>
            </a:xfrm>
            <a:prstGeom prst="ellipse">
              <a:avLst/>
            </a:prstGeom>
            <a:solidFill>
              <a:schemeClr val="bg1"/>
            </a:solidFill>
            <a:ln w="6350" cmpd="sng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endParaRPr>
            </a:p>
          </p:txBody>
        </p:sp>
        <p:sp>
          <p:nvSpPr>
            <p:cNvPr id="67" name="Arc 66">
              <a:extLst>
                <a:ext uri="{FF2B5EF4-FFF2-40B4-BE49-F238E27FC236}">
                  <a16:creationId xmlns:a16="http://schemas.microsoft.com/office/drawing/2014/main" id="{5887E688-8334-44B1-AF11-53DC38ECFF2D}"/>
                </a:ext>
              </a:extLst>
            </p:cNvPr>
            <p:cNvSpPr/>
            <p:nvPr/>
          </p:nvSpPr>
          <p:spPr>
            <a:xfrm>
              <a:off x="2207635" y="2180601"/>
              <a:ext cx="248311" cy="248311"/>
            </a:xfrm>
            <a:prstGeom prst="arc">
              <a:avLst>
                <a:gd name="adj1" fmla="val 16200000"/>
                <a:gd name="adj2" fmla="val 4638500"/>
              </a:avLst>
            </a:prstGeom>
            <a:solidFill>
              <a:srgbClr val="355188"/>
            </a:solidFill>
            <a:ln w="635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ACDE2556-DB52-40F0-B9BD-77969612C7F9}"/>
              </a:ext>
            </a:extLst>
          </p:cNvPr>
          <p:cNvGrpSpPr>
            <a:grpSpLocks noChangeAspect="1"/>
          </p:cNvGrpSpPr>
          <p:nvPr/>
        </p:nvGrpSpPr>
        <p:grpSpPr>
          <a:xfrm>
            <a:off x="4823674" y="2209755"/>
            <a:ext cx="273142" cy="273142"/>
            <a:chOff x="2207635" y="2180601"/>
            <a:chExt cx="248311" cy="248311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0C1DA044-3BC1-4195-8191-80459C7B1F8A}"/>
                </a:ext>
              </a:extLst>
            </p:cNvPr>
            <p:cNvSpPr/>
            <p:nvPr/>
          </p:nvSpPr>
          <p:spPr>
            <a:xfrm>
              <a:off x="2207635" y="2180601"/>
              <a:ext cx="248311" cy="248311"/>
            </a:xfrm>
            <a:prstGeom prst="ellipse">
              <a:avLst/>
            </a:prstGeom>
            <a:solidFill>
              <a:schemeClr val="bg1"/>
            </a:solidFill>
            <a:ln w="6350" cmpd="sng">
              <a:solidFill>
                <a:schemeClr val="tx1"/>
              </a:solidFill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endParaRPr>
            </a:p>
          </p:txBody>
        </p:sp>
        <p:sp>
          <p:nvSpPr>
            <p:cNvPr id="65" name="Arc 64">
              <a:extLst>
                <a:ext uri="{FF2B5EF4-FFF2-40B4-BE49-F238E27FC236}">
                  <a16:creationId xmlns:a16="http://schemas.microsoft.com/office/drawing/2014/main" id="{F6C073A4-D35D-4E46-9D69-DB3FDD379489}"/>
                </a:ext>
              </a:extLst>
            </p:cNvPr>
            <p:cNvSpPr/>
            <p:nvPr/>
          </p:nvSpPr>
          <p:spPr>
            <a:xfrm rot="12962504">
              <a:off x="2207635" y="2180601"/>
              <a:ext cx="248311" cy="248311"/>
            </a:xfrm>
            <a:prstGeom prst="arc">
              <a:avLst>
                <a:gd name="adj1" fmla="val 12852502"/>
                <a:gd name="adj2" fmla="val 3172531"/>
              </a:avLst>
            </a:prstGeom>
            <a:solidFill>
              <a:srgbClr val="E5A901"/>
            </a:solidFill>
            <a:ln w="6350">
              <a:solidFill>
                <a:schemeClr val="tx1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27AA7F09-B573-4EB9-8098-86C5F1F012C2}"/>
              </a:ext>
            </a:extLst>
          </p:cNvPr>
          <p:cNvGrpSpPr/>
          <p:nvPr/>
        </p:nvGrpSpPr>
        <p:grpSpPr>
          <a:xfrm>
            <a:off x="1602580" y="1585653"/>
            <a:ext cx="968508" cy="1064878"/>
            <a:chOff x="1066758" y="1496915"/>
            <a:chExt cx="968508" cy="1064878"/>
          </a:xfrm>
        </p:grpSpPr>
        <p:pic>
          <p:nvPicPr>
            <p:cNvPr id="63" name="Graphic 62" descr="Flag with solid fill">
              <a:extLst>
                <a:ext uri="{FF2B5EF4-FFF2-40B4-BE49-F238E27FC236}">
                  <a16:creationId xmlns:a16="http://schemas.microsoft.com/office/drawing/2014/main" id="{E73B6837-CB49-4FF2-88D7-588EC83EC6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450211">
              <a:off x="1545487" y="1496915"/>
              <a:ext cx="327917" cy="352541"/>
            </a:xfrm>
            <a:prstGeom prst="rect">
              <a:avLst/>
            </a:prstGeom>
          </p:spPr>
        </p:pic>
        <p:sp>
          <p:nvSpPr>
            <p:cNvPr id="26" name="Rettangolo 38">
              <a:extLst>
                <a:ext uri="{FF2B5EF4-FFF2-40B4-BE49-F238E27FC236}">
                  <a16:creationId xmlns:a16="http://schemas.microsoft.com/office/drawing/2014/main" id="{3FCF9020-4583-4C29-8300-95FE2431BDA5}"/>
                </a:ext>
              </a:extLst>
            </p:cNvPr>
            <p:cNvSpPr/>
            <p:nvPr/>
          </p:nvSpPr>
          <p:spPr>
            <a:xfrm>
              <a:off x="1195202" y="1779185"/>
              <a:ext cx="782608" cy="782608"/>
            </a:xfrm>
            <a:prstGeom prst="ellipse">
              <a:avLst/>
            </a:prstGeom>
            <a:solidFill>
              <a:srgbClr val="1D38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A2542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ttangolo 46">
              <a:extLst>
                <a:ext uri="{FF2B5EF4-FFF2-40B4-BE49-F238E27FC236}">
                  <a16:creationId xmlns:a16="http://schemas.microsoft.com/office/drawing/2014/main" id="{A318D15C-9EBA-4AB3-823E-1FC81EDB8729}"/>
                </a:ext>
              </a:extLst>
            </p:cNvPr>
            <p:cNvSpPr/>
            <p:nvPr/>
          </p:nvSpPr>
          <p:spPr>
            <a:xfrm>
              <a:off x="1066758" y="1918048"/>
              <a:ext cx="968508" cy="461665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  <a:cs typeface="Rubik Bold" panose="020B0604020202020204" charset="-79"/>
                </a:rPr>
                <a:t>100</a:t>
              </a:r>
              <a:endPara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endParaRPr>
            </a:p>
          </p:txBody>
        </p:sp>
      </p:grpSp>
      <p:sp>
        <p:nvSpPr>
          <p:cNvPr id="28" name="Rettangolo 38">
            <a:extLst>
              <a:ext uri="{FF2B5EF4-FFF2-40B4-BE49-F238E27FC236}">
                <a16:creationId xmlns:a16="http://schemas.microsoft.com/office/drawing/2014/main" id="{603473CA-87CE-40AA-90E6-2067565616FA}"/>
              </a:ext>
            </a:extLst>
          </p:cNvPr>
          <p:cNvSpPr/>
          <p:nvPr/>
        </p:nvSpPr>
        <p:spPr>
          <a:xfrm>
            <a:off x="8302903" y="1779185"/>
            <a:ext cx="782608" cy="782608"/>
          </a:xfrm>
          <a:prstGeom prst="ellipse">
            <a:avLst/>
          </a:prstGeom>
          <a:solidFill>
            <a:srgbClr val="E5A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0A2542">
                  <a:lumMod val="85000"/>
                  <a:lumOff val="15000"/>
                </a:srgbClr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29" name="Rettangolo 46">
            <a:extLst>
              <a:ext uri="{FF2B5EF4-FFF2-40B4-BE49-F238E27FC236}">
                <a16:creationId xmlns:a16="http://schemas.microsoft.com/office/drawing/2014/main" id="{FE864DAA-54B3-43F4-B925-B1133F22C90B}"/>
              </a:ext>
            </a:extLst>
          </p:cNvPr>
          <p:cNvSpPr/>
          <p:nvPr/>
        </p:nvSpPr>
        <p:spPr>
          <a:xfrm>
            <a:off x="8209953" y="1922978"/>
            <a:ext cx="968508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rPr>
              <a:t>14</a:t>
            </a:r>
            <a:endParaRPr kumimoji="0" lang="it-IT" sz="16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 charset="-79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0657F3F-3FEB-48B6-BEF5-92895BEDBF6C}"/>
              </a:ext>
            </a:extLst>
          </p:cNvPr>
          <p:cNvSpPr/>
          <p:nvPr/>
        </p:nvSpPr>
        <p:spPr>
          <a:xfrm>
            <a:off x="9075309" y="2037005"/>
            <a:ext cx="2297517" cy="282282"/>
          </a:xfrm>
          <a:prstGeom prst="rect">
            <a:avLst/>
          </a:prstGeom>
          <a:solidFill>
            <a:srgbClr val="3551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rPr>
              <a:t>MILESTONE AL 30 GIUGNO</a:t>
            </a: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3A16597E-2EEA-4308-9122-A1442C38030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4" t="36988" r="144" b="38468"/>
          <a:stretch/>
        </p:blipFill>
        <p:spPr>
          <a:xfrm>
            <a:off x="-7848" y="-3284"/>
            <a:ext cx="12156893" cy="1398844"/>
          </a:xfrm>
          <a:prstGeom prst="rect">
            <a:avLst/>
          </a:prstGeom>
        </p:spPr>
      </p:pic>
      <p:sp>
        <p:nvSpPr>
          <p:cNvPr id="71" name="TextBox 16">
            <a:extLst>
              <a:ext uri="{FF2B5EF4-FFF2-40B4-BE49-F238E27FC236}">
                <a16:creationId xmlns:a16="http://schemas.microsoft.com/office/drawing/2014/main" id="{21050DFB-DA40-4AA7-A2B9-20C49BD58984}"/>
              </a:ext>
            </a:extLst>
          </p:cNvPr>
          <p:cNvSpPr txBox="1"/>
          <p:nvPr/>
        </p:nvSpPr>
        <p:spPr>
          <a:xfrm>
            <a:off x="607348" y="914613"/>
            <a:ext cx="10343417" cy="2373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FOCUS: OBIETTIVI DEL 2022</a:t>
            </a:r>
          </a:p>
        </p:txBody>
      </p:sp>
      <p:pic>
        <p:nvPicPr>
          <p:cNvPr id="31" name="Graphic 30" descr="Bullseye with solid fill">
            <a:extLst>
              <a:ext uri="{FF2B5EF4-FFF2-40B4-BE49-F238E27FC236}">
                <a16:creationId xmlns:a16="http://schemas.microsoft.com/office/drawing/2014/main" id="{BC487ED4-B4AD-47CF-BDBE-7DE39F8C592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01265" y="1634617"/>
            <a:ext cx="477196" cy="477196"/>
          </a:xfrm>
          <a:prstGeom prst="rect">
            <a:avLst/>
          </a:prstGeom>
        </p:spPr>
      </p:pic>
      <p:pic>
        <p:nvPicPr>
          <p:cNvPr id="34" name="Picture 33" descr="Logo&#10;&#10;Description automatically generated">
            <a:extLst>
              <a:ext uri="{FF2B5EF4-FFF2-40B4-BE49-F238E27FC236}">
                <a16:creationId xmlns:a16="http://schemas.microsoft.com/office/drawing/2014/main" id="{22A4315A-59A5-4C3F-B174-C258246F4AF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671803" y="6406830"/>
            <a:ext cx="351082" cy="294908"/>
          </a:xfrm>
          <a:prstGeom prst="rect">
            <a:avLst/>
          </a:prstGeom>
        </p:spPr>
      </p:pic>
      <p:sp>
        <p:nvSpPr>
          <p:cNvPr id="35" name="AutoShape 16">
            <a:extLst>
              <a:ext uri="{FF2B5EF4-FFF2-40B4-BE49-F238E27FC236}">
                <a16:creationId xmlns:a16="http://schemas.microsoft.com/office/drawing/2014/main" id="{3FA8FBFB-D93B-4C9D-98FD-6265FBCADC74}"/>
              </a:ext>
            </a:extLst>
          </p:cNvPr>
          <p:cNvSpPr/>
          <p:nvPr/>
        </p:nvSpPr>
        <p:spPr>
          <a:xfrm>
            <a:off x="676833" y="3088899"/>
            <a:ext cx="10838335" cy="0"/>
          </a:xfrm>
          <a:prstGeom prst="line">
            <a:avLst/>
          </a:prstGeom>
          <a:ln w="19050" cap="flat">
            <a:solidFill>
              <a:srgbClr val="1D3880">
                <a:alpha val="29804"/>
              </a:srgbClr>
            </a:solidFill>
            <a:prstDash val="solid"/>
            <a:headEnd type="none" w="sm" len="sm"/>
            <a:tailEnd type="none" w="sm" len="sm"/>
          </a:ln>
        </p:spPr>
      </p:sp>
      <p:sp>
        <p:nvSpPr>
          <p:cNvPr id="37" name="Rettangolo 46">
            <a:extLst>
              <a:ext uri="{FF2B5EF4-FFF2-40B4-BE49-F238E27FC236}">
                <a16:creationId xmlns:a16="http://schemas.microsoft.com/office/drawing/2014/main" id="{16DBECC7-F804-4199-A06A-B2C003502E96}"/>
              </a:ext>
            </a:extLst>
          </p:cNvPr>
          <p:cNvSpPr/>
          <p:nvPr/>
        </p:nvSpPr>
        <p:spPr>
          <a:xfrm>
            <a:off x="676832" y="3103227"/>
            <a:ext cx="10838335" cy="33502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i="0" u="none" strike="noStrike" kern="1200" cap="none" spc="-5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Overview</a:t>
            </a:r>
            <a:r>
              <a:rPr kumimoji="0" lang="it-IT" sz="1600" i="0" u="none" strike="noStrike" kern="1200" cap="none" spc="-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dei principali obiettivi da conseguire:</a:t>
            </a:r>
          </a:p>
        </p:txBody>
      </p:sp>
      <p:sp>
        <p:nvSpPr>
          <p:cNvPr id="39" name="Rettangolo 46">
            <a:extLst>
              <a:ext uri="{FF2B5EF4-FFF2-40B4-BE49-F238E27FC236}">
                <a16:creationId xmlns:a16="http://schemas.microsoft.com/office/drawing/2014/main" id="{0F1E94D8-17DC-4D38-B7D9-B7F2C52868C6}"/>
              </a:ext>
            </a:extLst>
          </p:cNvPr>
          <p:cNvSpPr/>
          <p:nvPr/>
        </p:nvSpPr>
        <p:spPr>
          <a:xfrm>
            <a:off x="1427442" y="3693460"/>
            <a:ext cx="4263325" cy="14614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-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Riforma per il reclutamento dei docenti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Correlazione tra la 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rogressione di carriera </a:t>
            </a: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e la 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valutazione delle prestazioni 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Limitazione dell'eccessiva mobilità </a:t>
            </a: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degli insegnanti 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it-IT" sz="1400" b="1" spc="-5" dirty="0"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40" name="Rettangolo 46">
            <a:extLst>
              <a:ext uri="{FF2B5EF4-FFF2-40B4-BE49-F238E27FC236}">
                <a16:creationId xmlns:a16="http://schemas.microsoft.com/office/drawing/2014/main" id="{64702EDE-07C4-4234-9D38-37B45D0D7B3F}"/>
              </a:ext>
            </a:extLst>
          </p:cNvPr>
          <p:cNvSpPr/>
          <p:nvPr/>
        </p:nvSpPr>
        <p:spPr>
          <a:xfrm>
            <a:off x="1427442" y="5170000"/>
            <a:ext cx="4246880" cy="14614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-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Riforma dell’organizzazione dell’assistenza sanitaria territoriale 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Definizione di un 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nuovo assetto istituzionale </a:t>
            </a: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er la prevenzione in ambito sanitario, ambientale e climatico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Coinvolgimento di 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rofessionalità specifiche</a:t>
            </a:r>
          </a:p>
        </p:txBody>
      </p:sp>
      <p:sp>
        <p:nvSpPr>
          <p:cNvPr id="43" name="Rettangolo 46">
            <a:extLst>
              <a:ext uri="{FF2B5EF4-FFF2-40B4-BE49-F238E27FC236}">
                <a16:creationId xmlns:a16="http://schemas.microsoft.com/office/drawing/2014/main" id="{66797779-80F6-41D3-B77A-2EE4A7ED6033}"/>
              </a:ext>
            </a:extLst>
          </p:cNvPr>
          <p:cNvSpPr/>
          <p:nvPr/>
        </p:nvSpPr>
        <p:spPr>
          <a:xfrm>
            <a:off x="6597916" y="3693460"/>
            <a:ext cx="4800310" cy="14614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-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Riforma della concorrenza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Espansione del mercato per l’erogazione dei servizi </a:t>
            </a: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di raccolta dei rifiuti e per il trasporto pubblico locale</a:t>
            </a:r>
          </a:p>
          <a:p>
            <a:pPr marL="285750" indent="-285750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Razionalizzazione delle autorità nazionali di vigilanza </a:t>
            </a: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del mercato in non più di 10 agenzie situate nelle principali regioni d'Italia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it-IT" sz="1400" b="1" spc="-5" dirty="0"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44" name="Rettangolo 46">
            <a:extLst>
              <a:ext uri="{FF2B5EF4-FFF2-40B4-BE49-F238E27FC236}">
                <a16:creationId xmlns:a16="http://schemas.microsoft.com/office/drawing/2014/main" id="{B84437D6-CFEF-4966-941E-FCBB8F26AF72}"/>
              </a:ext>
            </a:extLst>
          </p:cNvPr>
          <p:cNvSpPr/>
          <p:nvPr/>
        </p:nvSpPr>
        <p:spPr>
          <a:xfrm>
            <a:off x="6597916" y="5170000"/>
            <a:ext cx="4800310" cy="14614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-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Aggiudicazione di appalti: idrogeno e BUL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Aggiudicazione di 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contratti di ricerca e sviluppo sull’idrogeno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Aggiudicazione di concessioni per fornire la 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connettività a banda ultra-larga </a:t>
            </a: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alle isole minori</a:t>
            </a:r>
          </a:p>
        </p:txBody>
      </p:sp>
      <p:pic>
        <p:nvPicPr>
          <p:cNvPr id="6" name="Graphic 5" descr="Renewable Energy outline">
            <a:extLst>
              <a:ext uri="{FF2B5EF4-FFF2-40B4-BE49-F238E27FC236}">
                <a16:creationId xmlns:a16="http://schemas.microsoft.com/office/drawing/2014/main" id="{42A10AB8-2269-4463-BB81-A9CF6B290B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08512" y="5170000"/>
            <a:ext cx="567771" cy="567771"/>
          </a:xfrm>
          <a:prstGeom prst="rect">
            <a:avLst/>
          </a:prstGeom>
        </p:spPr>
      </p:pic>
      <p:pic>
        <p:nvPicPr>
          <p:cNvPr id="8" name="Graphic 7" descr="Stethoscope outline">
            <a:extLst>
              <a:ext uri="{FF2B5EF4-FFF2-40B4-BE49-F238E27FC236}">
                <a16:creationId xmlns:a16="http://schemas.microsoft.com/office/drawing/2014/main" id="{13F4512C-9844-4560-9866-749E3C881A5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21926" y="5170000"/>
            <a:ext cx="516155" cy="516155"/>
          </a:xfrm>
          <a:prstGeom prst="rect">
            <a:avLst/>
          </a:prstGeom>
        </p:spPr>
      </p:pic>
      <p:pic>
        <p:nvPicPr>
          <p:cNvPr id="10" name="Graphic 9" descr="City outline">
            <a:extLst>
              <a:ext uri="{FF2B5EF4-FFF2-40B4-BE49-F238E27FC236}">
                <a16:creationId xmlns:a16="http://schemas.microsoft.com/office/drawing/2014/main" id="{D0FBA1A1-656A-4480-9AF7-0EF59D6393C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08512" y="3693460"/>
            <a:ext cx="567771" cy="567771"/>
          </a:xfrm>
          <a:prstGeom prst="rect">
            <a:avLst/>
          </a:prstGeom>
        </p:spPr>
      </p:pic>
      <p:pic>
        <p:nvPicPr>
          <p:cNvPr id="12" name="Graphic 11" descr="Professor female outline">
            <a:extLst>
              <a:ext uri="{FF2B5EF4-FFF2-40B4-BE49-F238E27FC236}">
                <a16:creationId xmlns:a16="http://schemas.microsoft.com/office/drawing/2014/main" id="{A8DE5BAC-1B52-4AD0-8A78-69D886A6890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96118" y="3693460"/>
            <a:ext cx="567771" cy="567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1101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7">
            <a:extLst>
              <a:ext uri="{FF2B5EF4-FFF2-40B4-BE49-F238E27FC236}">
                <a16:creationId xmlns:a16="http://schemas.microsoft.com/office/drawing/2014/main" id="{576709BF-C8D5-4237-9145-9087416F4E7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49" t="30501" r="9436" b="35012"/>
          <a:stretch/>
        </p:blipFill>
        <p:spPr>
          <a:xfrm>
            <a:off x="10784552" y="232055"/>
            <a:ext cx="1195591" cy="374645"/>
          </a:xfrm>
          <a:prstGeom prst="rect">
            <a:avLst/>
          </a:prstGeom>
        </p:spPr>
      </p:pic>
      <p:sp>
        <p:nvSpPr>
          <p:cNvPr id="135" name="AutoShape 2">
            <a:extLst>
              <a:ext uri="{FF2B5EF4-FFF2-40B4-BE49-F238E27FC236}">
                <a16:creationId xmlns:a16="http://schemas.microsoft.com/office/drawing/2014/main" id="{D0E92D22-F886-4F3B-BC90-22ED27E73D53}"/>
              </a:ext>
            </a:extLst>
          </p:cNvPr>
          <p:cNvSpPr/>
          <p:nvPr/>
        </p:nvSpPr>
        <p:spPr>
          <a:xfrm>
            <a:off x="0" y="1"/>
            <a:ext cx="12192000" cy="1475273"/>
          </a:xfrm>
          <a:prstGeom prst="rect">
            <a:avLst/>
          </a:prstGeom>
          <a:solidFill>
            <a:srgbClr val="1D3880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6" name="Picture 135">
            <a:extLst>
              <a:ext uri="{FF2B5EF4-FFF2-40B4-BE49-F238E27FC236}">
                <a16:creationId xmlns:a16="http://schemas.microsoft.com/office/drawing/2014/main" id="{F59F0E29-A8B0-469E-85B4-66652E149CD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6" t="48168" r="984" b="33433"/>
          <a:stretch/>
        </p:blipFill>
        <p:spPr>
          <a:xfrm>
            <a:off x="43315" y="-8485"/>
            <a:ext cx="12148685" cy="1503700"/>
          </a:xfrm>
          <a:prstGeom prst="rect">
            <a:avLst/>
          </a:prstGeom>
        </p:spPr>
      </p:pic>
      <p:sp>
        <p:nvSpPr>
          <p:cNvPr id="137" name="TextBox 16">
            <a:extLst>
              <a:ext uri="{FF2B5EF4-FFF2-40B4-BE49-F238E27FC236}">
                <a16:creationId xmlns:a16="http://schemas.microsoft.com/office/drawing/2014/main" id="{C0127670-E626-445F-930E-9E44C37BE878}"/>
              </a:ext>
            </a:extLst>
          </p:cNvPr>
          <p:cNvSpPr txBox="1"/>
          <p:nvPr/>
        </p:nvSpPr>
        <p:spPr>
          <a:xfrm>
            <a:off x="607349" y="914614"/>
            <a:ext cx="11541336" cy="2373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Black" panose="020B0A03030202060203" pitchFamily="34" charset="0"/>
              </a:rPr>
              <a:t>STATO DI ATTUAZIO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0D88CCC-1459-4D9D-AEDB-D6F922B0E8A1}"/>
              </a:ext>
            </a:extLst>
          </p:cNvPr>
          <p:cNvSpPr/>
          <p:nvPr/>
        </p:nvSpPr>
        <p:spPr>
          <a:xfrm>
            <a:off x="16102" y="6154723"/>
            <a:ext cx="1591331" cy="229102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lIns="0" tIns="0" rIns="0" bIns="0" rtlCol="0" anchor="t">
            <a:spAutoFit/>
          </a:bodyPr>
          <a:lstStyle/>
          <a:p>
            <a:pPr defTabSz="914446">
              <a:lnSpc>
                <a:spcPts val="1980"/>
              </a:lnSpc>
              <a:spcBef>
                <a:spcPct val="0"/>
              </a:spcBef>
              <a:defRPr/>
            </a:pPr>
            <a:r>
              <a:rPr lang="it-IT" sz="1100" i="1" kern="0" spc="15" dirty="0">
                <a:solidFill>
                  <a:srgbClr val="1D388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Aggiornato al 17.05.22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79C2E922-22DF-4949-84FD-AF4E0C60A7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4653" y="6109565"/>
            <a:ext cx="376947" cy="316635"/>
          </a:xfrm>
          <a:prstGeom prst="rect">
            <a:avLst/>
          </a:prstGeom>
        </p:spPr>
      </p:pic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71E3960-2893-4D14-BEDC-FB5C61EF146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87473306"/>
              </p:ext>
            </p:extLst>
          </p:nvPr>
        </p:nvGraphicFramePr>
        <p:xfrm>
          <a:off x="5039806" y="1537472"/>
          <a:ext cx="6517738" cy="50884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0" name="Rectangle 376">
            <a:extLst>
              <a:ext uri="{FF2B5EF4-FFF2-40B4-BE49-F238E27FC236}">
                <a16:creationId xmlns:a16="http://schemas.microsoft.com/office/drawing/2014/main" id="{93BE4077-D2F8-43D1-A8F6-8297B9CCC591}"/>
              </a:ext>
            </a:extLst>
          </p:cNvPr>
          <p:cNvSpPr/>
          <p:nvPr/>
        </p:nvSpPr>
        <p:spPr>
          <a:xfrm>
            <a:off x="6705600" y="914841"/>
            <a:ext cx="5415978" cy="2769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anchor="t">
            <a:spAutoFit/>
          </a:bodyPr>
          <a:lstStyle/>
          <a:p>
            <a:pPr defTabSz="914446">
              <a:defRPr/>
            </a:pPr>
            <a:r>
              <a:rPr lang="it-IT" b="1" kern="0" dirty="0">
                <a:solidFill>
                  <a:schemeClr val="bg1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BANDI E AVVISI EMANATI –  65,9 miliardi €</a:t>
            </a:r>
          </a:p>
        </p:txBody>
      </p:sp>
      <p:sp>
        <p:nvSpPr>
          <p:cNvPr id="21" name="AutoShape 4">
            <a:extLst>
              <a:ext uri="{FF2B5EF4-FFF2-40B4-BE49-F238E27FC236}">
                <a16:creationId xmlns:a16="http://schemas.microsoft.com/office/drawing/2014/main" id="{2BC0E49D-9596-45BE-95A7-F738F8F5DD6E}"/>
              </a:ext>
            </a:extLst>
          </p:cNvPr>
          <p:cNvSpPr/>
          <p:nvPr/>
        </p:nvSpPr>
        <p:spPr>
          <a:xfrm flipH="1" flipV="1">
            <a:off x="6676226" y="1214121"/>
            <a:ext cx="4931147" cy="30479"/>
          </a:xfrm>
          <a:prstGeom prst="rect">
            <a:avLst/>
          </a:prstGeom>
          <a:solidFill>
            <a:srgbClr val="E0AC26"/>
          </a:solidFill>
        </p:spPr>
      </p:sp>
      <p:pic>
        <p:nvPicPr>
          <p:cNvPr id="23" name="Picture 22" descr="Logo&#10;&#10;Description automatically generated">
            <a:extLst>
              <a:ext uri="{FF2B5EF4-FFF2-40B4-BE49-F238E27FC236}">
                <a16:creationId xmlns:a16="http://schemas.microsoft.com/office/drawing/2014/main" id="{349A33BA-EE66-4348-8A2C-40959AC394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71803" y="6406830"/>
            <a:ext cx="351082" cy="29490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E9EE42D-7F98-4062-BEDD-6532BA66D822}"/>
              </a:ext>
            </a:extLst>
          </p:cNvPr>
          <p:cNvGrpSpPr/>
          <p:nvPr/>
        </p:nvGrpSpPr>
        <p:grpSpPr>
          <a:xfrm>
            <a:off x="26277" y="2080065"/>
            <a:ext cx="5013529" cy="3509749"/>
            <a:chOff x="-29198" y="2145837"/>
            <a:chExt cx="5013529" cy="3509749"/>
          </a:xfrm>
        </p:grpSpPr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97D6FA0B-B866-4D7F-9E76-E17D7FFE949F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843014672"/>
                </p:ext>
              </p:extLst>
            </p:nvPr>
          </p:nvGraphicFramePr>
          <p:xfrm>
            <a:off x="1071147" y="2235585"/>
            <a:ext cx="3113070" cy="25048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11" name="TextBox 1">
              <a:extLst>
                <a:ext uri="{FF2B5EF4-FFF2-40B4-BE49-F238E27FC236}">
                  <a16:creationId xmlns:a16="http://schemas.microsoft.com/office/drawing/2014/main" id="{54286E0E-92F8-4223-8BD5-E02D33878CB9}"/>
                </a:ext>
              </a:extLst>
            </p:cNvPr>
            <p:cNvSpPr txBox="1"/>
            <p:nvPr/>
          </p:nvSpPr>
          <p:spPr>
            <a:xfrm>
              <a:off x="1926736" y="3370579"/>
              <a:ext cx="1656073" cy="51565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it-IT"/>
              </a:defPPr>
              <a:lvl1pPr>
                <a:lnSpc>
                  <a:spcPts val="1980"/>
                </a:lnSpc>
                <a:spcBef>
                  <a:spcPct val="0"/>
                </a:spcBef>
                <a:defRPr sz="1650" spc="15">
                  <a:solidFill>
                    <a:srgbClr val="1D3880"/>
                  </a:solidFill>
                  <a:latin typeface="Rubik Medium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46">
                <a:defRPr/>
              </a:pPr>
              <a:r>
                <a:rPr lang="it-IT" sz="3200" b="1" kern="0" dirty="0">
                  <a:solidFill>
                    <a:srgbClr val="273D66"/>
                  </a:solidFill>
                  <a:latin typeface="Graphik" panose="020B0503030202060203" pitchFamily="34" charset="0"/>
                  <a:cs typeface="Arial" panose="020B0604020202020204" pitchFamily="34" charset="0"/>
                </a:rPr>
                <a:t>225</a:t>
              </a:r>
            </a:p>
            <a:p>
              <a:pPr algn="ctr" defTabSz="914446">
                <a:defRPr/>
              </a:pPr>
              <a:r>
                <a:rPr lang="it-IT" sz="2000" kern="0" dirty="0">
                  <a:latin typeface="Graphik" panose="020B0503030202060203" pitchFamily="34" charset="0"/>
                  <a:cs typeface="Arial" panose="020B0604020202020204" pitchFamily="34" charset="0"/>
                </a:rPr>
                <a:t>procedure</a:t>
              </a:r>
            </a:p>
          </p:txBody>
        </p:sp>
        <p:sp>
          <p:nvSpPr>
            <p:cNvPr id="14" name="TextBox 1">
              <a:extLst>
                <a:ext uri="{FF2B5EF4-FFF2-40B4-BE49-F238E27FC236}">
                  <a16:creationId xmlns:a16="http://schemas.microsoft.com/office/drawing/2014/main" id="{121911A3-4E50-4595-B8D7-2000957B6CEF}"/>
                </a:ext>
              </a:extLst>
            </p:cNvPr>
            <p:cNvSpPr txBox="1"/>
            <p:nvPr/>
          </p:nvSpPr>
          <p:spPr>
            <a:xfrm>
              <a:off x="3483127" y="4830133"/>
              <a:ext cx="925494" cy="23250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>
              <a:defPPr>
                <a:defRPr lang="it-IT"/>
              </a:defPPr>
              <a:lvl1pPr>
                <a:lnSpc>
                  <a:spcPts val="1980"/>
                </a:lnSpc>
                <a:spcBef>
                  <a:spcPct val="0"/>
                </a:spcBef>
                <a:defRPr sz="1100" spc="15">
                  <a:solidFill>
                    <a:srgbClr val="1D3880"/>
                  </a:solidFill>
                  <a:latin typeface="Rubik Medium"/>
                </a:defRPr>
              </a:lvl1pPr>
              <a:lvl2pPr indent="0">
                <a:defRPr sz="1100"/>
              </a:lvl2pPr>
              <a:lvl3pPr indent="0">
                <a:defRPr sz="1100"/>
              </a:lvl3pPr>
              <a:lvl4pPr indent="0">
                <a:defRPr sz="1100"/>
              </a:lvl4pPr>
              <a:lvl5pPr indent="0">
                <a:defRPr sz="1100"/>
              </a:lvl5pPr>
              <a:lvl6pPr indent="0">
                <a:defRPr sz="1100"/>
              </a:lvl6pPr>
              <a:lvl7pPr indent="0">
                <a:defRPr sz="1100"/>
              </a:lvl7pPr>
              <a:lvl8pPr indent="0">
                <a:defRPr sz="1100"/>
              </a:lvl8pPr>
              <a:lvl9pPr indent="0">
                <a:defRPr sz="1100"/>
              </a:lvl9pPr>
            </a:lstStyle>
            <a:p>
              <a:pPr defTabSz="914446">
                <a:defRPr/>
              </a:pPr>
              <a:r>
                <a:rPr lang="it-IT" sz="1200" kern="0" dirty="0">
                  <a:latin typeface="Graphik" panose="020B0503030202060203" pitchFamily="34" charset="0"/>
                  <a:cs typeface="Arial" panose="020B0604020202020204" pitchFamily="34" charset="0"/>
                </a:rPr>
                <a:t># 137</a:t>
              </a:r>
            </a:p>
          </p:txBody>
        </p:sp>
        <p:sp>
          <p:nvSpPr>
            <p:cNvPr id="15" name="TextBox 1">
              <a:extLst>
                <a:ext uri="{FF2B5EF4-FFF2-40B4-BE49-F238E27FC236}">
                  <a16:creationId xmlns:a16="http://schemas.microsoft.com/office/drawing/2014/main" id="{D7E4EC28-D068-4BC8-B9D0-25B0F3DEFAD9}"/>
                </a:ext>
              </a:extLst>
            </p:cNvPr>
            <p:cNvSpPr txBox="1"/>
            <p:nvPr/>
          </p:nvSpPr>
          <p:spPr>
            <a:xfrm>
              <a:off x="938135" y="2364666"/>
              <a:ext cx="925494" cy="23250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>
              <a:defPPr>
                <a:defRPr lang="it-IT"/>
              </a:defPPr>
              <a:lvl1pPr>
                <a:lnSpc>
                  <a:spcPts val="1980"/>
                </a:lnSpc>
                <a:spcBef>
                  <a:spcPct val="0"/>
                </a:spcBef>
                <a:defRPr sz="1650" spc="15">
                  <a:solidFill>
                    <a:srgbClr val="1D3880"/>
                  </a:solidFill>
                  <a:latin typeface="Rubik Medium"/>
                </a:defRPr>
              </a:lvl1pPr>
              <a:lvl2pPr indent="0">
                <a:defRPr sz="1100"/>
              </a:lvl2pPr>
              <a:lvl3pPr indent="0">
                <a:defRPr sz="1100"/>
              </a:lvl3pPr>
              <a:lvl4pPr indent="0">
                <a:defRPr sz="1100"/>
              </a:lvl4pPr>
              <a:lvl5pPr indent="0">
                <a:defRPr sz="1100"/>
              </a:lvl5pPr>
              <a:lvl6pPr indent="0">
                <a:defRPr sz="1100"/>
              </a:lvl6pPr>
              <a:lvl7pPr indent="0">
                <a:defRPr sz="1100"/>
              </a:lvl7pPr>
              <a:lvl8pPr indent="0">
                <a:defRPr sz="1100"/>
              </a:lvl8pPr>
              <a:lvl9pPr indent="0">
                <a:defRPr sz="1100"/>
              </a:lvl9pPr>
            </a:lstStyle>
            <a:p>
              <a:pPr algn="r" defTabSz="914446">
                <a:defRPr/>
              </a:pPr>
              <a:r>
                <a:rPr lang="it-IT" sz="1200" kern="0" dirty="0">
                  <a:latin typeface="Graphik" panose="020B0503030202060203" pitchFamily="34" charset="0"/>
                  <a:cs typeface="Arial" panose="020B0604020202020204" pitchFamily="34" charset="0"/>
                </a:rPr>
                <a:t># 38</a:t>
              </a:r>
            </a:p>
          </p:txBody>
        </p:sp>
        <p:sp>
          <p:nvSpPr>
            <p:cNvPr id="16" name="TextBox 6">
              <a:extLst>
                <a:ext uri="{FF2B5EF4-FFF2-40B4-BE49-F238E27FC236}">
                  <a16:creationId xmlns:a16="http://schemas.microsoft.com/office/drawing/2014/main" id="{A9402F12-FCBD-4E5E-BDC6-CC80B86B2317}"/>
                </a:ext>
              </a:extLst>
            </p:cNvPr>
            <p:cNvSpPr txBox="1"/>
            <p:nvPr/>
          </p:nvSpPr>
          <p:spPr>
            <a:xfrm>
              <a:off x="3423595" y="4586226"/>
              <a:ext cx="1560736" cy="24750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it-IT"/>
              </a:defPPr>
              <a:lvl1pPr>
                <a:lnSpc>
                  <a:spcPts val="1980"/>
                </a:lnSpc>
                <a:spcBef>
                  <a:spcPct val="0"/>
                </a:spcBef>
                <a:defRPr sz="1650" spc="15">
                  <a:solidFill>
                    <a:srgbClr val="1D3880"/>
                  </a:solidFill>
                  <a:latin typeface="Rubik Medium"/>
                </a:defRPr>
              </a:lvl1pPr>
            </a:lstStyle>
            <a:p>
              <a:pPr defTabSz="914446">
                <a:defRPr/>
              </a:pPr>
              <a:r>
                <a:rPr lang="it-IT" b="1" i="1" kern="0" dirty="0">
                  <a:latin typeface="Graphik" panose="020B0503030202060203" pitchFamily="34" charset="0"/>
                  <a:cs typeface="Arial" panose="020B0604020202020204" pitchFamily="34" charset="0"/>
                </a:rPr>
                <a:t>55,4</a:t>
              </a:r>
              <a:r>
                <a:rPr lang="it-IT" kern="0" dirty="0">
                  <a:latin typeface="Graphik" panose="020B0503030202060203" pitchFamily="34" charset="0"/>
                  <a:cs typeface="Arial" panose="020B0604020202020204" pitchFamily="34" charset="0"/>
                </a:rPr>
                <a:t> Mld €</a:t>
              </a:r>
            </a:p>
          </p:txBody>
        </p:sp>
        <p:sp>
          <p:nvSpPr>
            <p:cNvPr id="17" name="TextBox 6">
              <a:extLst>
                <a:ext uri="{FF2B5EF4-FFF2-40B4-BE49-F238E27FC236}">
                  <a16:creationId xmlns:a16="http://schemas.microsoft.com/office/drawing/2014/main" id="{5A4B8532-420F-48D4-8841-F5CD90FF0764}"/>
                </a:ext>
              </a:extLst>
            </p:cNvPr>
            <p:cNvSpPr txBox="1"/>
            <p:nvPr/>
          </p:nvSpPr>
          <p:spPr>
            <a:xfrm>
              <a:off x="583091" y="2145837"/>
              <a:ext cx="1537783" cy="24750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it-IT"/>
              </a:defPPr>
              <a:lvl1pPr>
                <a:lnSpc>
                  <a:spcPts val="1980"/>
                </a:lnSpc>
                <a:spcBef>
                  <a:spcPct val="0"/>
                </a:spcBef>
                <a:defRPr sz="1650" spc="15">
                  <a:solidFill>
                    <a:srgbClr val="1D3880"/>
                  </a:solidFill>
                  <a:latin typeface="Rubik Medium"/>
                </a:defRPr>
              </a:lvl1pPr>
            </a:lstStyle>
            <a:p>
              <a:pPr algn="r" defTabSz="914446">
                <a:defRPr/>
              </a:pPr>
              <a:r>
                <a:rPr lang="it-IT" b="1" i="1" kern="0" dirty="0">
                  <a:latin typeface="Graphik" panose="020B0503030202060203" pitchFamily="34" charset="0"/>
                  <a:cs typeface="Arial" panose="020B0604020202020204" pitchFamily="34" charset="0"/>
                </a:rPr>
                <a:t>2,6</a:t>
              </a:r>
              <a:r>
                <a:rPr lang="it-IT" kern="0" dirty="0">
                  <a:latin typeface="Graphik" panose="020B0503030202060203" pitchFamily="34" charset="0"/>
                  <a:cs typeface="Arial" panose="020B0604020202020204" pitchFamily="34" charset="0"/>
                </a:rPr>
                <a:t> Mld €</a:t>
              </a:r>
            </a:p>
          </p:txBody>
        </p:sp>
        <p:sp>
          <p:nvSpPr>
            <p:cNvPr id="24" name="TextBox 1">
              <a:extLst>
                <a:ext uri="{FF2B5EF4-FFF2-40B4-BE49-F238E27FC236}">
                  <a16:creationId xmlns:a16="http://schemas.microsoft.com/office/drawing/2014/main" id="{6FCDBDA0-1BB4-4AF2-9560-F6A7A58D731C}"/>
                </a:ext>
              </a:extLst>
            </p:cNvPr>
            <p:cNvSpPr txBox="1"/>
            <p:nvPr/>
          </p:nvSpPr>
          <p:spPr>
            <a:xfrm>
              <a:off x="583091" y="4072521"/>
              <a:ext cx="925494" cy="23250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>
              <a:defPPr>
                <a:defRPr lang="it-IT"/>
              </a:defPPr>
              <a:lvl1pPr>
                <a:lnSpc>
                  <a:spcPts val="1980"/>
                </a:lnSpc>
                <a:spcBef>
                  <a:spcPct val="0"/>
                </a:spcBef>
                <a:defRPr sz="1650" spc="15">
                  <a:solidFill>
                    <a:srgbClr val="1D3880"/>
                  </a:solidFill>
                  <a:latin typeface="Rubik Medium"/>
                </a:defRPr>
              </a:lvl1pPr>
              <a:lvl2pPr indent="0">
                <a:defRPr sz="1100"/>
              </a:lvl2pPr>
              <a:lvl3pPr indent="0">
                <a:defRPr sz="1100"/>
              </a:lvl3pPr>
              <a:lvl4pPr indent="0">
                <a:defRPr sz="1100"/>
              </a:lvl4pPr>
              <a:lvl5pPr indent="0">
                <a:defRPr sz="1100"/>
              </a:lvl5pPr>
              <a:lvl6pPr indent="0">
                <a:defRPr sz="1100"/>
              </a:lvl6pPr>
              <a:lvl7pPr indent="0">
                <a:defRPr sz="1100"/>
              </a:lvl7pPr>
              <a:lvl8pPr indent="0">
                <a:defRPr sz="1100"/>
              </a:lvl8pPr>
              <a:lvl9pPr indent="0">
                <a:defRPr sz="1100"/>
              </a:lvl9pPr>
            </a:lstStyle>
            <a:p>
              <a:pPr algn="r" defTabSz="914446">
                <a:defRPr/>
              </a:pPr>
              <a:r>
                <a:rPr lang="it-IT" sz="1200" kern="0" dirty="0">
                  <a:latin typeface="Graphik" panose="020B0503030202060203" pitchFamily="34" charset="0"/>
                  <a:cs typeface="Arial" panose="020B0604020202020204" pitchFamily="34" charset="0"/>
                </a:rPr>
                <a:t># 50</a:t>
              </a:r>
            </a:p>
          </p:txBody>
        </p:sp>
        <p:sp>
          <p:nvSpPr>
            <p:cNvPr id="25" name="TextBox 6">
              <a:extLst>
                <a:ext uri="{FF2B5EF4-FFF2-40B4-BE49-F238E27FC236}">
                  <a16:creationId xmlns:a16="http://schemas.microsoft.com/office/drawing/2014/main" id="{3175405E-0FA3-48F5-BC25-BF2FD900D1B6}"/>
                </a:ext>
              </a:extLst>
            </p:cNvPr>
            <p:cNvSpPr txBox="1"/>
            <p:nvPr/>
          </p:nvSpPr>
          <p:spPr>
            <a:xfrm>
              <a:off x="-29198" y="3848624"/>
              <a:ext cx="1537783" cy="24750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>
              <a:defPPr>
                <a:defRPr lang="it-IT"/>
              </a:defPPr>
              <a:lvl1pPr>
                <a:lnSpc>
                  <a:spcPts val="1980"/>
                </a:lnSpc>
                <a:spcBef>
                  <a:spcPct val="0"/>
                </a:spcBef>
                <a:defRPr sz="1650" spc="15">
                  <a:solidFill>
                    <a:srgbClr val="1D3880"/>
                  </a:solidFill>
                  <a:latin typeface="Rubik Medium"/>
                </a:defRPr>
              </a:lvl1pPr>
            </a:lstStyle>
            <a:p>
              <a:pPr algn="r" defTabSz="914446">
                <a:defRPr/>
              </a:pPr>
              <a:r>
                <a:rPr lang="it-IT" b="1" i="1" kern="0" dirty="0">
                  <a:latin typeface="Graphik" panose="020B0503030202060203" pitchFamily="34" charset="0"/>
                  <a:cs typeface="Arial" panose="020B0604020202020204" pitchFamily="34" charset="0"/>
                </a:rPr>
                <a:t>7,9</a:t>
              </a:r>
              <a:r>
                <a:rPr lang="it-IT" kern="0" dirty="0">
                  <a:latin typeface="Graphik" panose="020B0503030202060203" pitchFamily="34" charset="0"/>
                  <a:cs typeface="Arial" panose="020B0604020202020204" pitchFamily="34" charset="0"/>
                </a:rPr>
                <a:t> Mld €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5C7CC384-897F-4F3B-B00B-5B8D93EF6445}"/>
                </a:ext>
              </a:extLst>
            </p:cNvPr>
            <p:cNvGrpSpPr/>
            <p:nvPr/>
          </p:nvGrpSpPr>
          <p:grpSpPr>
            <a:xfrm>
              <a:off x="662406" y="4941370"/>
              <a:ext cx="2741330" cy="714216"/>
              <a:chOff x="1180495" y="4952244"/>
              <a:chExt cx="2741330" cy="714216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D62D018F-D935-4861-A5CE-E77F16091032}"/>
                  </a:ext>
                </a:extLst>
              </p:cNvPr>
              <p:cNvSpPr/>
              <p:nvPr/>
            </p:nvSpPr>
            <p:spPr>
              <a:xfrm>
                <a:off x="1180495" y="5254716"/>
                <a:ext cx="165100" cy="152667"/>
              </a:xfrm>
              <a:prstGeom prst="rect">
                <a:avLst/>
              </a:prstGeom>
              <a:solidFill>
                <a:srgbClr val="FFFFFF">
                  <a:lumMod val="65000"/>
                </a:srgbClr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pPr algn="ctr" defTabSz="914446">
                  <a:defRPr/>
                </a:pPr>
                <a:endParaRPr lang="it-IT" kern="0">
                  <a:solidFill>
                    <a:srgbClr val="FFFFFF"/>
                  </a:solidFill>
                  <a:latin typeface="Graphik" panose="020B05030302020602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08BC57CA-7E8B-4FE2-BA51-D85C3AC2A560}"/>
                  </a:ext>
                </a:extLst>
              </p:cNvPr>
              <p:cNvSpPr/>
              <p:nvPr/>
            </p:nvSpPr>
            <p:spPr>
              <a:xfrm>
                <a:off x="1180495" y="5507528"/>
                <a:ext cx="165100" cy="152667"/>
              </a:xfrm>
              <a:prstGeom prst="rect">
                <a:avLst/>
              </a:prstGeom>
              <a:solidFill>
                <a:srgbClr val="476DB6"/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pPr algn="ctr" defTabSz="914446">
                  <a:defRPr/>
                </a:pPr>
                <a:endParaRPr lang="it-IT" kern="0">
                  <a:solidFill>
                    <a:srgbClr val="FFFFFF"/>
                  </a:solidFill>
                  <a:latin typeface="Graphik" panose="020B05030302020602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" name="Segnaposto testo 4">
                <a:extLst>
                  <a:ext uri="{FF2B5EF4-FFF2-40B4-BE49-F238E27FC236}">
                    <a16:creationId xmlns:a16="http://schemas.microsoft.com/office/drawing/2014/main" id="{E24CEC18-8776-4442-9B09-DDFAA100D5A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473613" y="5442744"/>
                <a:ext cx="2190557" cy="223716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it-IT"/>
                </a:defPPr>
                <a:lvl1pPr>
                  <a:lnSpc>
                    <a:spcPts val="1980"/>
                  </a:lnSpc>
                  <a:spcBef>
                    <a:spcPct val="0"/>
                  </a:spcBef>
                  <a:defRPr sz="1100" spc="15">
                    <a:solidFill>
                      <a:srgbClr val="1D3880"/>
                    </a:solidFill>
                    <a:latin typeface="Rubik Medium"/>
                  </a:defRPr>
                </a:lvl1pPr>
                <a:lvl2pPr indent="0">
                  <a:defRPr sz="1100"/>
                </a:lvl2pPr>
                <a:lvl3pPr indent="0">
                  <a:defRPr sz="1100"/>
                </a:lvl3pPr>
                <a:lvl4pPr indent="0">
                  <a:defRPr sz="1100"/>
                </a:lvl4pPr>
                <a:lvl5pPr indent="0">
                  <a:defRPr sz="1100"/>
                </a:lvl5pPr>
                <a:lvl6pPr indent="0">
                  <a:defRPr sz="1100"/>
                </a:lvl6pPr>
                <a:lvl7pPr indent="0">
                  <a:defRPr sz="1100"/>
                </a:lvl7pPr>
                <a:lvl8pPr indent="0">
                  <a:defRPr sz="1100"/>
                </a:lvl8pPr>
                <a:lvl9pPr indent="0">
                  <a:defRPr sz="1100"/>
                </a:lvl9pPr>
              </a:lstStyle>
              <a:p>
                <a:pPr defTabSz="914446">
                  <a:defRPr/>
                </a:pPr>
                <a:r>
                  <a:rPr lang="it-IT" kern="0" dirty="0">
                    <a:latin typeface="Graphik" panose="020B0503030202060203" pitchFamily="34" charset="0"/>
                    <a:cs typeface="Arial" panose="020B0604020202020204" pitchFamily="34" charset="0"/>
                  </a:rPr>
                  <a:t>Selezione progetti</a:t>
                </a:r>
              </a:p>
            </p:txBody>
          </p:sp>
          <p:sp>
            <p:nvSpPr>
              <p:cNvPr id="19" name="Segnaposto testo 4">
                <a:extLst>
                  <a:ext uri="{FF2B5EF4-FFF2-40B4-BE49-F238E27FC236}">
                    <a16:creationId xmlns:a16="http://schemas.microsoft.com/office/drawing/2014/main" id="{62281C13-C337-40B5-9B4E-20CF53295EF4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463989" y="5205287"/>
                <a:ext cx="2455364" cy="223716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it-IT"/>
                </a:defPPr>
                <a:lvl1pPr>
                  <a:lnSpc>
                    <a:spcPts val="1980"/>
                  </a:lnSpc>
                  <a:spcBef>
                    <a:spcPct val="0"/>
                  </a:spcBef>
                  <a:defRPr sz="1100" spc="15">
                    <a:solidFill>
                      <a:srgbClr val="1D3880"/>
                    </a:solidFill>
                    <a:latin typeface="Rubik Medium"/>
                  </a:defRPr>
                </a:lvl1pPr>
                <a:lvl2pPr indent="0">
                  <a:defRPr sz="1100"/>
                </a:lvl2pPr>
                <a:lvl3pPr indent="0">
                  <a:defRPr sz="1100"/>
                </a:lvl3pPr>
                <a:lvl4pPr indent="0">
                  <a:defRPr sz="1100"/>
                </a:lvl4pPr>
                <a:lvl5pPr indent="0">
                  <a:defRPr sz="1100"/>
                </a:lvl5pPr>
                <a:lvl6pPr indent="0">
                  <a:defRPr sz="1100"/>
                </a:lvl6pPr>
                <a:lvl7pPr indent="0">
                  <a:defRPr sz="1100"/>
                </a:lvl7pPr>
                <a:lvl8pPr indent="0">
                  <a:defRPr sz="1100"/>
                </a:lvl8pPr>
                <a:lvl9pPr indent="0">
                  <a:defRPr sz="1100"/>
                </a:lvl9pPr>
              </a:lstStyle>
              <a:p>
                <a:pPr defTabSz="914446">
                  <a:defRPr/>
                </a:pPr>
                <a:r>
                  <a:rPr lang="it-IT" kern="0" dirty="0">
                    <a:latin typeface="Graphik" panose="020B0503030202060203" pitchFamily="34" charset="0"/>
                    <a:cs typeface="Arial" panose="020B0604020202020204" pitchFamily="34" charset="0"/>
                  </a:rPr>
                  <a:t>Concorsi e selezione esperti</a:t>
                </a:r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7A720F20-64F3-4972-8D9D-90EF979D086A}"/>
                  </a:ext>
                </a:extLst>
              </p:cNvPr>
              <p:cNvSpPr/>
              <p:nvPr/>
            </p:nvSpPr>
            <p:spPr>
              <a:xfrm>
                <a:off x="1180495" y="5003730"/>
                <a:ext cx="165100" cy="152667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 rtlCol="0" anchor="ctr"/>
              <a:lstStyle/>
              <a:p>
                <a:pPr algn="ctr" defTabSz="914446">
                  <a:defRPr/>
                </a:pPr>
                <a:endParaRPr lang="it-IT" kern="0">
                  <a:solidFill>
                    <a:srgbClr val="FFFFFF"/>
                  </a:solidFill>
                  <a:latin typeface="Graphik" panose="020B0503030202060203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Segnaposto testo 4">
                <a:extLst>
                  <a:ext uri="{FF2B5EF4-FFF2-40B4-BE49-F238E27FC236}">
                    <a16:creationId xmlns:a16="http://schemas.microsoft.com/office/drawing/2014/main" id="{E8A6A901-56E6-4CF0-AA49-89ED47BA909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466461" y="4952244"/>
                <a:ext cx="2455364" cy="223716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>
                <a:defPPr>
                  <a:defRPr lang="it-IT"/>
                </a:defPPr>
                <a:lvl1pPr>
                  <a:lnSpc>
                    <a:spcPts val="1980"/>
                  </a:lnSpc>
                  <a:spcBef>
                    <a:spcPct val="0"/>
                  </a:spcBef>
                  <a:defRPr sz="1100" spc="15">
                    <a:solidFill>
                      <a:srgbClr val="1D3880"/>
                    </a:solidFill>
                    <a:latin typeface="Rubik Medium"/>
                  </a:defRPr>
                </a:lvl1pPr>
                <a:lvl2pPr indent="0">
                  <a:defRPr sz="1100"/>
                </a:lvl2pPr>
                <a:lvl3pPr indent="0">
                  <a:defRPr sz="1100"/>
                </a:lvl3pPr>
                <a:lvl4pPr indent="0">
                  <a:defRPr sz="1100"/>
                </a:lvl4pPr>
                <a:lvl5pPr indent="0">
                  <a:defRPr sz="1100"/>
                </a:lvl5pPr>
                <a:lvl6pPr indent="0">
                  <a:defRPr sz="1100"/>
                </a:lvl6pPr>
                <a:lvl7pPr indent="0">
                  <a:defRPr sz="1100"/>
                </a:lvl7pPr>
                <a:lvl8pPr indent="0">
                  <a:defRPr sz="1100"/>
                </a:lvl8pPr>
                <a:lvl9pPr indent="0">
                  <a:defRPr sz="1100"/>
                </a:lvl9pPr>
              </a:lstStyle>
              <a:p>
                <a:pPr defTabSz="914446">
                  <a:defRPr/>
                </a:pPr>
                <a:r>
                  <a:rPr lang="it-IT" kern="0" dirty="0">
                    <a:latin typeface="Graphik" panose="020B0503030202060203" pitchFamily="34" charset="0"/>
                    <a:cs typeface="Arial" panose="020B0604020202020204" pitchFamily="34" charset="0"/>
                  </a:rPr>
                  <a:t>Appalti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260094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0" y="-26991"/>
            <a:ext cx="12192000" cy="1433107"/>
          </a:xfrm>
          <a:prstGeom prst="rect">
            <a:avLst/>
          </a:prstGeom>
          <a:solidFill>
            <a:srgbClr val="1D3880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3A16597E-2EEA-4308-9122-A1442C38030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4" t="36988" r="144" b="38468"/>
          <a:stretch/>
        </p:blipFill>
        <p:spPr>
          <a:xfrm>
            <a:off x="-7848" y="-3284"/>
            <a:ext cx="12156893" cy="1398844"/>
          </a:xfrm>
          <a:prstGeom prst="rect">
            <a:avLst/>
          </a:prstGeom>
        </p:spPr>
      </p:pic>
      <p:sp>
        <p:nvSpPr>
          <p:cNvPr id="71" name="TextBox 16">
            <a:extLst>
              <a:ext uri="{FF2B5EF4-FFF2-40B4-BE49-F238E27FC236}">
                <a16:creationId xmlns:a16="http://schemas.microsoft.com/office/drawing/2014/main" id="{21050DFB-DA40-4AA7-A2B9-20C49BD58984}"/>
              </a:ext>
            </a:extLst>
          </p:cNvPr>
          <p:cNvSpPr txBox="1"/>
          <p:nvPr/>
        </p:nvSpPr>
        <p:spPr>
          <a:xfrm>
            <a:off x="607348" y="914613"/>
            <a:ext cx="10343417" cy="2373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FOCUS: OBIETTIVI DEL 2023-2026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2B645E8-1502-448C-A8EB-51B700F722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0073" y="2684290"/>
            <a:ext cx="8091854" cy="2996984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18F2E1C2-EF86-46EA-8597-08DEF044D8F4}"/>
              </a:ext>
            </a:extLst>
          </p:cNvPr>
          <p:cNvSpPr/>
          <p:nvPr/>
        </p:nvSpPr>
        <p:spPr>
          <a:xfrm>
            <a:off x="1220678" y="2611587"/>
            <a:ext cx="9750644" cy="3142391"/>
          </a:xfrm>
          <a:prstGeom prst="rect">
            <a:avLst/>
          </a:prstGeom>
          <a:noFill/>
          <a:ln w="28575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47" name="AutoShape 16">
            <a:extLst>
              <a:ext uri="{FF2B5EF4-FFF2-40B4-BE49-F238E27FC236}">
                <a16:creationId xmlns:a16="http://schemas.microsoft.com/office/drawing/2014/main" id="{D59E5710-72AD-4CFC-B794-3B112EE94534}"/>
              </a:ext>
            </a:extLst>
          </p:cNvPr>
          <p:cNvSpPr/>
          <p:nvPr/>
        </p:nvSpPr>
        <p:spPr>
          <a:xfrm>
            <a:off x="676833" y="2149099"/>
            <a:ext cx="10838335" cy="0"/>
          </a:xfrm>
          <a:prstGeom prst="line">
            <a:avLst/>
          </a:prstGeom>
          <a:ln w="19050" cap="flat">
            <a:solidFill>
              <a:srgbClr val="1D3880">
                <a:alpha val="29804"/>
              </a:srgbClr>
            </a:solidFill>
            <a:prstDash val="solid"/>
            <a:headEnd type="none" w="sm" len="sm"/>
            <a:tailEnd type="none" w="sm" len="sm"/>
          </a:ln>
        </p:spPr>
      </p:sp>
      <p:pic>
        <p:nvPicPr>
          <p:cNvPr id="48" name="Picture 47" descr="Logo&#10;&#10;Description automatically generated">
            <a:extLst>
              <a:ext uri="{FF2B5EF4-FFF2-40B4-BE49-F238E27FC236}">
                <a16:creationId xmlns:a16="http://schemas.microsoft.com/office/drawing/2014/main" id="{1A34FA78-1DA0-40AF-BCDB-D814181B3A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71803" y="6406830"/>
            <a:ext cx="351082" cy="294908"/>
          </a:xfrm>
          <a:prstGeom prst="rect">
            <a:avLst/>
          </a:prstGeom>
        </p:spPr>
      </p:pic>
      <p:sp>
        <p:nvSpPr>
          <p:cNvPr id="49" name="Rettangolo 46">
            <a:extLst>
              <a:ext uri="{FF2B5EF4-FFF2-40B4-BE49-F238E27FC236}">
                <a16:creationId xmlns:a16="http://schemas.microsoft.com/office/drawing/2014/main" id="{6B7E2E6F-EFE7-4FD0-9ECD-E11BCBD47326}"/>
              </a:ext>
            </a:extLst>
          </p:cNvPr>
          <p:cNvSpPr/>
          <p:nvPr/>
        </p:nvSpPr>
        <p:spPr>
          <a:xfrm>
            <a:off x="676832" y="1515727"/>
            <a:ext cx="10838335" cy="33502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i="0" u="none" strike="noStrike" kern="1200" cap="none" spc="-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Per gli anni </a:t>
            </a:r>
            <a:r>
              <a:rPr kumimoji="0" lang="it-IT" sz="1600" b="1" i="0" u="none" strike="noStrike" kern="1200" cap="none" spc="-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2023-2026 </a:t>
            </a:r>
            <a:r>
              <a:rPr kumimoji="0" lang="it-IT" sz="1600" i="0" u="none" strike="noStrike" kern="1200" cap="none" spc="-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il Piano prevede un </a:t>
            </a:r>
            <a:r>
              <a:rPr kumimoji="0" lang="it-IT" sz="1600" b="1" i="0" u="none" strike="noStrike" kern="1200" cap="none" spc="-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aumento degli obiettivi quantitativi </a:t>
            </a:r>
            <a:r>
              <a:rPr kumimoji="0" lang="it-IT" sz="1600" i="0" u="none" strike="noStrike" kern="1200" cap="none" spc="-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rispetto ai traguardi qualitativi da conseguire:</a:t>
            </a:r>
          </a:p>
        </p:txBody>
      </p:sp>
      <p:sp>
        <p:nvSpPr>
          <p:cNvPr id="50" name="Isosceles Triangle 49">
            <a:extLst>
              <a:ext uri="{FF2B5EF4-FFF2-40B4-BE49-F238E27FC236}">
                <a16:creationId xmlns:a16="http://schemas.microsoft.com/office/drawing/2014/main" id="{9FC0A76B-DD75-41CA-9E5B-50622DD8973A}"/>
              </a:ext>
            </a:extLst>
          </p:cNvPr>
          <p:cNvSpPr/>
          <p:nvPr/>
        </p:nvSpPr>
        <p:spPr>
          <a:xfrm>
            <a:off x="5626953" y="2384473"/>
            <a:ext cx="887290" cy="216969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401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AutoShape 2">
            <a:extLst>
              <a:ext uri="{FF2B5EF4-FFF2-40B4-BE49-F238E27FC236}">
                <a16:creationId xmlns:a16="http://schemas.microsoft.com/office/drawing/2014/main" id="{D0E92D22-F886-4F3B-BC90-22ED27E73D53}"/>
              </a:ext>
            </a:extLst>
          </p:cNvPr>
          <p:cNvSpPr/>
          <p:nvPr/>
        </p:nvSpPr>
        <p:spPr>
          <a:xfrm>
            <a:off x="0" y="1"/>
            <a:ext cx="12192000" cy="1475273"/>
          </a:xfrm>
          <a:prstGeom prst="rect">
            <a:avLst/>
          </a:prstGeom>
          <a:solidFill>
            <a:srgbClr val="1D3880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6" name="Picture 135">
            <a:extLst>
              <a:ext uri="{FF2B5EF4-FFF2-40B4-BE49-F238E27FC236}">
                <a16:creationId xmlns:a16="http://schemas.microsoft.com/office/drawing/2014/main" id="{F59F0E29-A8B0-469E-85B4-66652E149CD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6" t="48168" r="984" b="33433"/>
          <a:stretch/>
        </p:blipFill>
        <p:spPr>
          <a:xfrm>
            <a:off x="43315" y="-8485"/>
            <a:ext cx="12148685" cy="1503700"/>
          </a:xfrm>
          <a:prstGeom prst="rect">
            <a:avLst/>
          </a:prstGeom>
        </p:spPr>
      </p:pic>
      <p:sp>
        <p:nvSpPr>
          <p:cNvPr id="137" name="TextBox 16">
            <a:extLst>
              <a:ext uri="{FF2B5EF4-FFF2-40B4-BE49-F238E27FC236}">
                <a16:creationId xmlns:a16="http://schemas.microsoft.com/office/drawing/2014/main" id="{C0127670-E626-445F-930E-9E44C37BE878}"/>
              </a:ext>
            </a:extLst>
          </p:cNvPr>
          <p:cNvSpPr txBox="1"/>
          <p:nvPr/>
        </p:nvSpPr>
        <p:spPr>
          <a:xfrm>
            <a:off x="607349" y="914614"/>
            <a:ext cx="11541336" cy="2373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Black" panose="020B0A03030202060203" pitchFamily="34" charset="0"/>
              </a:rPr>
              <a:t>LE PRINCIPALI MODALITÀ DI ACCESSO AL PNRR</a:t>
            </a:r>
          </a:p>
        </p:txBody>
      </p:sp>
      <p:pic>
        <p:nvPicPr>
          <p:cNvPr id="69" name="Picture 68" descr="Logo&#10;&#10;Description automatically generated">
            <a:extLst>
              <a:ext uri="{FF2B5EF4-FFF2-40B4-BE49-F238E27FC236}">
                <a16:creationId xmlns:a16="http://schemas.microsoft.com/office/drawing/2014/main" id="{F40D5541-1818-4323-BABB-D8B2B70E7A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71803" y="6406830"/>
            <a:ext cx="351082" cy="294908"/>
          </a:xfrm>
          <a:prstGeom prst="rect">
            <a:avLst/>
          </a:prstGeom>
        </p:spPr>
      </p:pic>
      <p:sp>
        <p:nvSpPr>
          <p:cNvPr id="70" name="Rettangolo 17">
            <a:extLst>
              <a:ext uri="{FF2B5EF4-FFF2-40B4-BE49-F238E27FC236}">
                <a16:creationId xmlns:a16="http://schemas.microsoft.com/office/drawing/2014/main" id="{96E7A723-9B6F-49C7-9A91-EC7FC23A27D4}"/>
              </a:ext>
            </a:extLst>
          </p:cNvPr>
          <p:cNvSpPr/>
          <p:nvPr/>
        </p:nvSpPr>
        <p:spPr>
          <a:xfrm>
            <a:off x="1314242" y="1942267"/>
            <a:ext cx="9786147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lvl="1">
              <a:spcAft>
                <a:spcPts val="600"/>
              </a:spcAft>
              <a:defRPr/>
            </a:pP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Partecipando a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Bandi e Avvisi </a:t>
            </a: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emanati dalle Amministrazioni Centrali titolari di interventi</a:t>
            </a:r>
          </a:p>
        </p:txBody>
      </p:sp>
      <p:sp>
        <p:nvSpPr>
          <p:cNvPr id="75" name="Rettangolo 17">
            <a:extLst>
              <a:ext uri="{FF2B5EF4-FFF2-40B4-BE49-F238E27FC236}">
                <a16:creationId xmlns:a16="http://schemas.microsoft.com/office/drawing/2014/main" id="{C2430E62-923E-4615-BDFE-00939D41AF36}"/>
              </a:ext>
            </a:extLst>
          </p:cNvPr>
          <p:cNvSpPr/>
          <p:nvPr/>
        </p:nvSpPr>
        <p:spPr>
          <a:xfrm>
            <a:off x="1314243" y="2691321"/>
            <a:ext cx="8439812" cy="52322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lvl="1">
              <a:spcAft>
                <a:spcPts val="600"/>
              </a:spcAft>
              <a:defRPr/>
            </a:pP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Partecipando a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Bandi di gara </a:t>
            </a: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per lavori e fornitura di beni e servizi emanati dai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soggetti attuatori</a:t>
            </a:r>
          </a:p>
        </p:txBody>
      </p:sp>
      <p:sp>
        <p:nvSpPr>
          <p:cNvPr id="76" name="Rettangolo 17">
            <a:extLst>
              <a:ext uri="{FF2B5EF4-FFF2-40B4-BE49-F238E27FC236}">
                <a16:creationId xmlns:a16="http://schemas.microsoft.com/office/drawing/2014/main" id="{F1854225-6871-42D2-BD12-1B3C9BE0E22A}"/>
              </a:ext>
            </a:extLst>
          </p:cNvPr>
          <p:cNvSpPr/>
          <p:nvPr/>
        </p:nvSpPr>
        <p:spPr>
          <a:xfrm>
            <a:off x="1314243" y="4652585"/>
            <a:ext cx="4818695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lvl="1">
              <a:spcAft>
                <a:spcPts val="600"/>
              </a:spcAft>
              <a:defRPr/>
            </a:pP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Partecipando a </a:t>
            </a:r>
            <a:r>
              <a:rPr lang="it-IT" sz="1400" b="1" dirty="0">
                <a:solidFill>
                  <a:schemeClr val="bg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artenariato pubblici-privati</a:t>
            </a:r>
            <a:endParaRPr kumimoji="0" lang="it-IT" sz="140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77" name="Rettangolo 17">
            <a:extLst>
              <a:ext uri="{FF2B5EF4-FFF2-40B4-BE49-F238E27FC236}">
                <a16:creationId xmlns:a16="http://schemas.microsoft.com/office/drawing/2014/main" id="{64BB443B-FA67-4F8D-8809-5B2B259DA92B}"/>
              </a:ext>
            </a:extLst>
          </p:cNvPr>
          <p:cNvSpPr/>
          <p:nvPr/>
        </p:nvSpPr>
        <p:spPr>
          <a:xfrm>
            <a:off x="1314243" y="5483419"/>
            <a:ext cx="4818695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lvl="1">
              <a:spcAft>
                <a:spcPts val="600"/>
              </a:spcAft>
              <a:defRPr/>
            </a:pP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Presentando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Domande di accesso ai fondi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EE549AC5-6BEF-4B30-A36B-47A303CFD596}"/>
              </a:ext>
            </a:extLst>
          </p:cNvPr>
          <p:cNvCxnSpPr>
            <a:cxnSpLocks/>
          </p:cNvCxnSpPr>
          <p:nvPr/>
        </p:nvCxnSpPr>
        <p:spPr>
          <a:xfrm>
            <a:off x="860054" y="1609480"/>
            <a:ext cx="0" cy="503041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D98F7988-EE91-44DC-A3EE-F63D1ADA019E}"/>
              </a:ext>
            </a:extLst>
          </p:cNvPr>
          <p:cNvCxnSpPr>
            <a:cxnSpLocks/>
          </p:cNvCxnSpPr>
          <p:nvPr/>
        </p:nvCxnSpPr>
        <p:spPr>
          <a:xfrm>
            <a:off x="1643258" y="1609480"/>
            <a:ext cx="0" cy="5030410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 descr="Coins outline">
            <a:extLst>
              <a:ext uri="{FF2B5EF4-FFF2-40B4-BE49-F238E27FC236}">
                <a16:creationId xmlns:a16="http://schemas.microsoft.com/office/drawing/2014/main" id="{406BF342-25DB-4E39-A075-7B6123B2C5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9806" y="5408990"/>
            <a:ext cx="516155" cy="516155"/>
          </a:xfrm>
          <a:prstGeom prst="rect">
            <a:avLst/>
          </a:prstGeom>
        </p:spPr>
      </p:pic>
      <p:pic>
        <p:nvPicPr>
          <p:cNvPr id="85" name="Graphic 84" descr="Meeting outline">
            <a:extLst>
              <a:ext uri="{FF2B5EF4-FFF2-40B4-BE49-F238E27FC236}">
                <a16:creationId xmlns:a16="http://schemas.microsoft.com/office/drawing/2014/main" id="{1F929EF5-6F7F-4D77-8F1A-1652475366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83998" y="4506078"/>
            <a:ext cx="567771" cy="567771"/>
          </a:xfrm>
          <a:prstGeom prst="rect">
            <a:avLst/>
          </a:prstGeom>
        </p:spPr>
      </p:pic>
      <p:pic>
        <p:nvPicPr>
          <p:cNvPr id="89" name="Graphic 88" descr="Document outline">
            <a:extLst>
              <a:ext uri="{FF2B5EF4-FFF2-40B4-BE49-F238E27FC236}">
                <a16:creationId xmlns:a16="http://schemas.microsoft.com/office/drawing/2014/main" id="{7C05E958-C3FA-4FAE-88D7-1855830FA08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9806" y="1838078"/>
            <a:ext cx="516155" cy="516155"/>
          </a:xfrm>
          <a:prstGeom prst="rect">
            <a:avLst/>
          </a:prstGeom>
        </p:spPr>
      </p:pic>
      <p:pic>
        <p:nvPicPr>
          <p:cNvPr id="91" name="Graphic 90" descr="Checklist with solid fill">
            <a:extLst>
              <a:ext uri="{FF2B5EF4-FFF2-40B4-BE49-F238E27FC236}">
                <a16:creationId xmlns:a16="http://schemas.microsoft.com/office/drawing/2014/main" id="{FEE4E981-4C62-4824-A016-4153DA5C163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33267" y="2718315"/>
            <a:ext cx="469232" cy="469232"/>
          </a:xfrm>
          <a:prstGeom prst="rect">
            <a:avLst/>
          </a:prstGeom>
        </p:spPr>
      </p:pic>
      <p:sp>
        <p:nvSpPr>
          <p:cNvPr id="97" name="Rettangolo 46">
            <a:extLst>
              <a:ext uri="{FF2B5EF4-FFF2-40B4-BE49-F238E27FC236}">
                <a16:creationId xmlns:a16="http://schemas.microsoft.com/office/drawing/2014/main" id="{23C72CD3-E2D1-40D9-A22F-E49B70309F51}"/>
              </a:ext>
            </a:extLst>
          </p:cNvPr>
          <p:cNvSpPr/>
          <p:nvPr/>
        </p:nvSpPr>
        <p:spPr>
          <a:xfrm>
            <a:off x="6908809" y="5483419"/>
            <a:ext cx="4976031" cy="88002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sz="1200" b="1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Fondo Nazionale del Turismo e Fondo BEI - </a:t>
            </a:r>
            <a:r>
              <a:rPr lang="it-IT" sz="1200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Investimento:</a:t>
            </a:r>
            <a:r>
              <a:rPr lang="it-IT" sz="1200" b="1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 </a:t>
            </a:r>
            <a:r>
              <a:rPr lang="it-IT" sz="1200" i="1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Fondi integrati per la competitività delle imprese turistiche</a:t>
            </a: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sz="1200" b="1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SIMEST  - </a:t>
            </a:r>
            <a:r>
              <a:rPr lang="it-IT" sz="1200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Investimento:</a:t>
            </a:r>
            <a:r>
              <a:rPr lang="it-IT" sz="1200" b="1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 </a:t>
            </a:r>
            <a:r>
              <a:rPr lang="it-IT" sz="1200" i="1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Rifinanziamento del Fondo 394/81</a:t>
            </a:r>
          </a:p>
        </p:txBody>
      </p:sp>
      <p:sp>
        <p:nvSpPr>
          <p:cNvPr id="101" name="Rettangolo 46">
            <a:extLst>
              <a:ext uri="{FF2B5EF4-FFF2-40B4-BE49-F238E27FC236}">
                <a16:creationId xmlns:a16="http://schemas.microsoft.com/office/drawing/2014/main" id="{0384862F-2065-4994-B097-3716A7F54542}"/>
              </a:ext>
            </a:extLst>
          </p:cNvPr>
          <p:cNvSpPr/>
          <p:nvPr/>
        </p:nvSpPr>
        <p:spPr>
          <a:xfrm>
            <a:off x="6908809" y="3651394"/>
            <a:ext cx="4818696" cy="58171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sz="1200" b="1" spc="-5" dirty="0" err="1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Infratel</a:t>
            </a:r>
            <a:r>
              <a:rPr lang="it-IT" sz="1200" b="1" i="1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 </a:t>
            </a:r>
            <a:r>
              <a:rPr lang="it-IT" sz="1200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– Investimento:  </a:t>
            </a:r>
            <a:r>
              <a:rPr lang="it-IT" sz="1200" i="1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Banda ultra-larga e 5G</a:t>
            </a:r>
            <a:endParaRPr lang="it-IT" sz="1200" b="1" i="1" spc="-5" dirty="0">
              <a:solidFill>
                <a:srgbClr val="0A2643"/>
              </a:solidFill>
              <a:latin typeface="Graphik" panose="020B0503030202060203" pitchFamily="34" charset="0"/>
              <a:cs typeface="Arial" panose="020B0604020202020204" pitchFamily="34" charset="0"/>
            </a:endParaRPr>
          </a:p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sz="1200" b="1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RFI</a:t>
            </a:r>
            <a:r>
              <a:rPr lang="it-IT" sz="1200" b="1" i="1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 – </a:t>
            </a:r>
            <a:r>
              <a:rPr lang="it-IT" sz="1200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Investimento: </a:t>
            </a:r>
            <a:r>
              <a:rPr lang="it-IT" sz="1200" i="1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Investimenti Infrastrutturali per Zone Economiche Speciali</a:t>
            </a:r>
          </a:p>
        </p:txBody>
      </p:sp>
      <p:sp>
        <p:nvSpPr>
          <p:cNvPr id="102" name="Rettangolo 17">
            <a:extLst>
              <a:ext uri="{FF2B5EF4-FFF2-40B4-BE49-F238E27FC236}">
                <a16:creationId xmlns:a16="http://schemas.microsoft.com/office/drawing/2014/main" id="{FDFDBEA1-486B-4468-ACBA-34180E9F66A8}"/>
              </a:ext>
            </a:extLst>
          </p:cNvPr>
          <p:cNvSpPr/>
          <p:nvPr/>
        </p:nvSpPr>
        <p:spPr>
          <a:xfrm>
            <a:off x="1314243" y="3651394"/>
            <a:ext cx="4818696" cy="52322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lvl="1">
              <a:spcAft>
                <a:spcPts val="600"/>
              </a:spcAft>
              <a:defRPr/>
            </a:pP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Partecipando a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Bandi di gara </a:t>
            </a: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emanati da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società pubbliche/partecipate</a:t>
            </a:r>
          </a:p>
        </p:txBody>
      </p:sp>
      <p:sp>
        <p:nvSpPr>
          <p:cNvPr id="104" name="Rettangolo 46">
            <a:extLst>
              <a:ext uri="{FF2B5EF4-FFF2-40B4-BE49-F238E27FC236}">
                <a16:creationId xmlns:a16="http://schemas.microsoft.com/office/drawing/2014/main" id="{5A8F43E5-F4AF-40F4-A434-D49B55FB2274}"/>
              </a:ext>
            </a:extLst>
          </p:cNvPr>
          <p:cNvSpPr/>
          <p:nvPr/>
        </p:nvSpPr>
        <p:spPr>
          <a:xfrm>
            <a:off x="6908808" y="4714778"/>
            <a:ext cx="4818691" cy="29744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R="0" lvl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sz="1200" b="1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Difesa Servizi S.p.A., </a:t>
            </a:r>
            <a:r>
              <a:rPr lang="it-IT" sz="1200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società in house del Ministero della Difesa</a:t>
            </a:r>
            <a:r>
              <a:rPr lang="it-IT" sz="1200" b="1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 - </a:t>
            </a:r>
            <a:r>
              <a:rPr lang="it-IT" sz="1200" b="1" i="1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 </a:t>
            </a:r>
            <a:r>
              <a:rPr lang="it-IT" sz="1200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Investimento: </a:t>
            </a:r>
            <a:r>
              <a:rPr lang="it-IT" sz="1200" i="1" spc="-5" dirty="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olo Strategico Nazionale</a:t>
            </a:r>
          </a:p>
        </p:txBody>
      </p:sp>
      <p:pic>
        <p:nvPicPr>
          <p:cNvPr id="94" name="Graphic 93" descr="Clipboard outline">
            <a:extLst>
              <a:ext uri="{FF2B5EF4-FFF2-40B4-BE49-F238E27FC236}">
                <a16:creationId xmlns:a16="http://schemas.microsoft.com/office/drawing/2014/main" id="{22A8B3FE-FD25-478B-BC60-B69E4423E31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25212" y="3639966"/>
            <a:ext cx="567771" cy="567771"/>
          </a:xfrm>
          <a:prstGeom prst="rect">
            <a:avLst/>
          </a:prstGeom>
        </p:spPr>
      </p:pic>
      <p:pic>
        <p:nvPicPr>
          <p:cNvPr id="107" name="Graphic 106" descr="Caret Right with solid fill">
            <a:extLst>
              <a:ext uri="{FF2B5EF4-FFF2-40B4-BE49-F238E27FC236}">
                <a16:creationId xmlns:a16="http://schemas.microsoft.com/office/drawing/2014/main" id="{33D5785D-D915-480C-B3AE-333FC8D5815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348189" y="5429907"/>
            <a:ext cx="469232" cy="469232"/>
          </a:xfrm>
          <a:prstGeom prst="rect">
            <a:avLst/>
          </a:prstGeom>
        </p:spPr>
      </p:pic>
      <p:pic>
        <p:nvPicPr>
          <p:cNvPr id="117" name="Graphic 116" descr="Caret Right with solid fill">
            <a:extLst>
              <a:ext uri="{FF2B5EF4-FFF2-40B4-BE49-F238E27FC236}">
                <a16:creationId xmlns:a16="http://schemas.microsoft.com/office/drawing/2014/main" id="{857AEA1D-DB49-4AEC-958D-7CF8B3A8E2F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348086" y="4648417"/>
            <a:ext cx="469232" cy="469232"/>
          </a:xfrm>
          <a:prstGeom prst="rect">
            <a:avLst/>
          </a:prstGeom>
        </p:spPr>
      </p:pic>
      <p:pic>
        <p:nvPicPr>
          <p:cNvPr id="118" name="Graphic 117" descr="Caret Right with solid fill">
            <a:extLst>
              <a:ext uri="{FF2B5EF4-FFF2-40B4-BE49-F238E27FC236}">
                <a16:creationId xmlns:a16="http://schemas.microsoft.com/office/drawing/2014/main" id="{842388C1-50F1-414E-AF51-82BE1C1A11D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348086" y="3651394"/>
            <a:ext cx="469232" cy="46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1702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/>
          <p:nvPr/>
        </p:nvSpPr>
        <p:spPr>
          <a:xfrm>
            <a:off x="368301" y="1336634"/>
            <a:ext cx="4252644" cy="5405503"/>
          </a:xfrm>
          <a:prstGeom prst="rect">
            <a:avLst/>
          </a:prstGeom>
          <a:solidFill>
            <a:srgbClr val="EFF7FF"/>
          </a:solidFill>
        </p:spPr>
      </p:sp>
      <p:pic>
        <p:nvPicPr>
          <p:cNvPr id="4" name="Picture 4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457809" y="1362034"/>
            <a:ext cx="3887314" cy="5380103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94E27BBC-11C4-4152-B912-ACB5A0F83FB2}"/>
              </a:ext>
            </a:extLst>
          </p:cNvPr>
          <p:cNvGrpSpPr/>
          <p:nvPr/>
        </p:nvGrpSpPr>
        <p:grpSpPr>
          <a:xfrm>
            <a:off x="7524455" y="1911429"/>
            <a:ext cx="4810237" cy="3696007"/>
            <a:chOff x="7553168" y="1403306"/>
            <a:chExt cx="4810237" cy="3696007"/>
          </a:xfrm>
        </p:grpSpPr>
        <p:pic>
          <p:nvPicPr>
            <p:cNvPr id="11" name="Picture 11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>
            <a:xfrm>
              <a:off x="7599751" y="1403306"/>
              <a:ext cx="4231333" cy="3696007"/>
            </a:xfrm>
            <a:prstGeom prst="rect">
              <a:avLst/>
            </a:prstGeom>
          </p:spPr>
        </p:pic>
        <p:sp>
          <p:nvSpPr>
            <p:cNvPr id="43" name="TextBox 12">
              <a:extLst>
                <a:ext uri="{FF2B5EF4-FFF2-40B4-BE49-F238E27FC236}">
                  <a16:creationId xmlns:a16="http://schemas.microsoft.com/office/drawing/2014/main" id="{091E0AB3-EF13-48DB-A2FF-7B0883510A12}"/>
                </a:ext>
              </a:extLst>
            </p:cNvPr>
            <p:cNvSpPr txBox="1"/>
            <p:nvPr/>
          </p:nvSpPr>
          <p:spPr>
            <a:xfrm>
              <a:off x="7553168" y="1456110"/>
              <a:ext cx="4231333" cy="34509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3071"/>
                </a:lnSpc>
              </a:pPr>
              <a:r>
                <a:rPr lang="en-US" sz="1600" b="1" dirty="0">
                  <a:solidFill>
                    <a:srgbClr val="D2A124"/>
                  </a:solidFill>
                  <a:latin typeface="Graphik" panose="020B0503030202060203" pitchFamily="34" charset="0"/>
                </a:rPr>
                <a:t>LE FUNZIONALITÀ</a:t>
              </a:r>
            </a:p>
          </p:txBody>
        </p:sp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5D258A78-EE13-4304-AF8F-7A966F83F0AC}"/>
                </a:ext>
              </a:extLst>
            </p:cNvPr>
            <p:cNvSpPr txBox="1"/>
            <p:nvPr/>
          </p:nvSpPr>
          <p:spPr>
            <a:xfrm>
              <a:off x="8132072" y="2102743"/>
              <a:ext cx="4231333" cy="274043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134894" lvl="1">
                <a:lnSpc>
                  <a:spcPts val="2424"/>
                </a:lnSpc>
              </a:pPr>
              <a:r>
                <a:rPr lang="it-IT" sz="1200" b="1" dirty="0">
                  <a:solidFill>
                    <a:srgbClr val="273755"/>
                  </a:solidFill>
                  <a:latin typeface="Graphik" panose="020B0503030202060203" pitchFamily="34" charset="0"/>
                </a:rPr>
                <a:t>Rilevazione dati finanziari, fisici e procedurali</a:t>
              </a:r>
            </a:p>
            <a:p>
              <a:pPr marL="134894" lvl="1">
                <a:lnSpc>
                  <a:spcPts val="2424"/>
                </a:lnSpc>
              </a:pPr>
              <a:endParaRPr lang="it-IT" sz="1200" b="1" dirty="0">
                <a:solidFill>
                  <a:srgbClr val="273755"/>
                </a:solidFill>
                <a:latin typeface="Graphik" panose="020B0503030202060203" pitchFamily="34" charset="0"/>
              </a:endParaRPr>
            </a:p>
            <a:p>
              <a:pPr marL="134894" lvl="1">
                <a:lnSpc>
                  <a:spcPts val="2424"/>
                </a:lnSpc>
              </a:pPr>
              <a:r>
                <a:rPr lang="it-IT" sz="1200" b="1" dirty="0">
                  <a:solidFill>
                    <a:srgbClr val="273755"/>
                  </a:solidFill>
                  <a:latin typeface="Graphik" panose="020B0503030202060203" pitchFamily="34" charset="0"/>
                </a:rPr>
                <a:t>Verifica e rendicontazione di M&amp;T</a:t>
              </a:r>
            </a:p>
            <a:p>
              <a:pPr marL="134894" lvl="1">
                <a:lnSpc>
                  <a:spcPts val="2424"/>
                </a:lnSpc>
              </a:pPr>
              <a:endParaRPr lang="it-IT" sz="1200" b="1" dirty="0">
                <a:solidFill>
                  <a:srgbClr val="273755"/>
                </a:solidFill>
                <a:latin typeface="Graphik" panose="020B0503030202060203" pitchFamily="34" charset="0"/>
              </a:endParaRPr>
            </a:p>
            <a:p>
              <a:pPr marL="134894" lvl="1">
                <a:lnSpc>
                  <a:spcPts val="2424"/>
                </a:lnSpc>
              </a:pPr>
              <a:r>
                <a:rPr lang="it-IT" sz="1200" b="1" dirty="0">
                  <a:solidFill>
                    <a:srgbClr val="273755"/>
                  </a:solidFill>
                  <a:latin typeface="Graphik" panose="020B0503030202060203" pitchFamily="34" charset="0"/>
                </a:rPr>
                <a:t>Dashboard conoscitiva</a:t>
              </a:r>
            </a:p>
            <a:p>
              <a:pPr marL="134894" lvl="1">
                <a:lnSpc>
                  <a:spcPts val="2424"/>
                </a:lnSpc>
              </a:pPr>
              <a:endParaRPr lang="it-IT" sz="1200" b="1" dirty="0">
                <a:solidFill>
                  <a:srgbClr val="273755"/>
                </a:solidFill>
                <a:latin typeface="Graphik" panose="020B0503030202060203" pitchFamily="34" charset="0"/>
              </a:endParaRPr>
            </a:p>
            <a:p>
              <a:pPr marL="134894" lvl="1">
                <a:lnSpc>
                  <a:spcPts val="2424"/>
                </a:lnSpc>
              </a:pPr>
              <a:r>
                <a:rPr lang="it-IT" sz="1200" b="1" dirty="0" err="1">
                  <a:solidFill>
                    <a:srgbClr val="273755"/>
                  </a:solidFill>
                  <a:latin typeface="Graphik" panose="020B0503030202060203" pitchFamily="34" charset="0"/>
                </a:rPr>
                <a:t>Early</a:t>
              </a:r>
              <a:r>
                <a:rPr lang="it-IT" sz="1200" b="1" dirty="0">
                  <a:solidFill>
                    <a:srgbClr val="273755"/>
                  </a:solidFill>
                  <a:latin typeface="Graphik" panose="020B0503030202060203" pitchFamily="34" charset="0"/>
                </a:rPr>
                <a:t> warning per la rilevazione di criticità</a:t>
              </a:r>
            </a:p>
            <a:p>
              <a:pPr marL="134894" lvl="1">
                <a:lnSpc>
                  <a:spcPts val="2424"/>
                </a:lnSpc>
              </a:pPr>
              <a:endParaRPr lang="it-IT" sz="1200" b="1" dirty="0">
                <a:solidFill>
                  <a:srgbClr val="273755"/>
                </a:solidFill>
                <a:latin typeface="Graphik" panose="020B0503030202060203" pitchFamily="34" charset="0"/>
              </a:endParaRPr>
            </a:p>
            <a:p>
              <a:pPr marL="134894" lvl="1">
                <a:lnSpc>
                  <a:spcPts val="2424"/>
                </a:lnSpc>
              </a:pPr>
              <a:r>
                <a:rPr lang="it-IT" sz="1200" b="1" dirty="0">
                  <a:solidFill>
                    <a:srgbClr val="273755"/>
                  </a:solidFill>
                  <a:latin typeface="Graphik" panose="020B0503030202060203" pitchFamily="34" charset="0"/>
                </a:rPr>
                <a:t>Cronoprogramma step amministrativi</a:t>
              </a:r>
            </a:p>
          </p:txBody>
        </p:sp>
        <p:pic>
          <p:nvPicPr>
            <p:cNvPr id="37" name="Elemento grafico 12" descr="Statistiche contorno">
              <a:extLst>
                <a:ext uri="{FF2B5EF4-FFF2-40B4-BE49-F238E27FC236}">
                  <a16:creationId xmlns:a16="http://schemas.microsoft.com/office/drawing/2014/main" id="{816FACF2-72D0-4399-B394-1BC4CBB6E4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749620" y="2126276"/>
              <a:ext cx="376578" cy="376578"/>
            </a:xfrm>
            <a:prstGeom prst="rect">
              <a:avLst/>
            </a:prstGeom>
          </p:spPr>
        </p:pic>
        <p:pic>
          <p:nvPicPr>
            <p:cNvPr id="38" name="Elemento grafico 14" descr="Calendario mensile contorno">
              <a:extLst>
                <a:ext uri="{FF2B5EF4-FFF2-40B4-BE49-F238E27FC236}">
                  <a16:creationId xmlns:a16="http://schemas.microsoft.com/office/drawing/2014/main" id="{F5B7535B-BEDD-4A28-A8B8-B0FA035CD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766662" y="3368710"/>
              <a:ext cx="342495" cy="342495"/>
            </a:xfrm>
            <a:prstGeom prst="rect">
              <a:avLst/>
            </a:prstGeom>
          </p:spPr>
        </p:pic>
        <p:pic>
          <p:nvPicPr>
            <p:cNvPr id="40" name="Graphic 39" descr="Fast Forward outline">
              <a:extLst>
                <a:ext uri="{FF2B5EF4-FFF2-40B4-BE49-F238E27FC236}">
                  <a16:creationId xmlns:a16="http://schemas.microsoft.com/office/drawing/2014/main" id="{232FEEA8-94BC-4990-A81A-3D024F10DB2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744012" y="4514061"/>
              <a:ext cx="387795" cy="387795"/>
            </a:xfrm>
            <a:prstGeom prst="rect">
              <a:avLst/>
            </a:prstGeom>
          </p:spPr>
        </p:pic>
        <p:pic>
          <p:nvPicPr>
            <p:cNvPr id="41" name="Graphic 40" descr="Warning outline">
              <a:extLst>
                <a:ext uri="{FF2B5EF4-FFF2-40B4-BE49-F238E27FC236}">
                  <a16:creationId xmlns:a16="http://schemas.microsoft.com/office/drawing/2014/main" id="{762A3704-AE29-4400-8662-E780B8C638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777122" y="3933733"/>
              <a:ext cx="321575" cy="321575"/>
            </a:xfrm>
            <a:prstGeom prst="rect">
              <a:avLst/>
            </a:prstGeom>
          </p:spPr>
        </p:pic>
        <p:pic>
          <p:nvPicPr>
            <p:cNvPr id="18" name="Graphic 17" descr="Research outline">
              <a:extLst>
                <a:ext uri="{FF2B5EF4-FFF2-40B4-BE49-F238E27FC236}">
                  <a16:creationId xmlns:a16="http://schemas.microsoft.com/office/drawing/2014/main" id="{F305D509-636F-4EC9-A949-93F2157E685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724622" y="2727692"/>
              <a:ext cx="426575" cy="426575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42EF2D6-CEBA-4AAF-84ED-40C3CEC4FC2A}"/>
              </a:ext>
            </a:extLst>
          </p:cNvPr>
          <p:cNvGrpSpPr/>
          <p:nvPr/>
        </p:nvGrpSpPr>
        <p:grpSpPr>
          <a:xfrm>
            <a:off x="3923158" y="1384031"/>
            <a:ext cx="3710324" cy="4952368"/>
            <a:chOff x="3729608" y="802446"/>
            <a:chExt cx="3710324" cy="4952368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B3B194C-7439-4217-8DB1-C4CFD04D8F37}"/>
                </a:ext>
              </a:extLst>
            </p:cNvPr>
            <p:cNvGrpSpPr/>
            <p:nvPr/>
          </p:nvGrpSpPr>
          <p:grpSpPr>
            <a:xfrm>
              <a:off x="4131924" y="889000"/>
              <a:ext cx="2956863" cy="4865814"/>
              <a:chOff x="3826103" y="409386"/>
              <a:chExt cx="2956863" cy="5887634"/>
            </a:xfrm>
          </p:grpSpPr>
          <p:sp>
            <p:nvSpPr>
              <p:cNvPr id="53" name="Rectangle: Rounded Corners 52">
                <a:extLst>
                  <a:ext uri="{FF2B5EF4-FFF2-40B4-BE49-F238E27FC236}">
                    <a16:creationId xmlns:a16="http://schemas.microsoft.com/office/drawing/2014/main" id="{51B2EEAD-ADF3-4F95-8A6D-C82ACA5263DC}"/>
                  </a:ext>
                </a:extLst>
              </p:cNvPr>
              <p:cNvSpPr/>
              <p:nvPr/>
            </p:nvSpPr>
            <p:spPr>
              <a:xfrm>
                <a:off x="3854074" y="3321518"/>
                <a:ext cx="2875901" cy="931218"/>
              </a:xfrm>
              <a:custGeom>
                <a:avLst/>
                <a:gdLst>
                  <a:gd name="connsiteX0" fmla="*/ 0 w 2875901"/>
                  <a:gd name="connsiteY0" fmla="*/ 155206 h 931218"/>
                  <a:gd name="connsiteX1" fmla="*/ 155206 w 2875901"/>
                  <a:gd name="connsiteY1" fmla="*/ 0 h 931218"/>
                  <a:gd name="connsiteX2" fmla="*/ 719614 w 2875901"/>
                  <a:gd name="connsiteY2" fmla="*/ 0 h 931218"/>
                  <a:gd name="connsiteX3" fmla="*/ 1181402 w 2875901"/>
                  <a:gd name="connsiteY3" fmla="*/ 0 h 931218"/>
                  <a:gd name="connsiteX4" fmla="*/ 1745809 w 2875901"/>
                  <a:gd name="connsiteY4" fmla="*/ 0 h 931218"/>
                  <a:gd name="connsiteX5" fmla="*/ 2258907 w 2875901"/>
                  <a:gd name="connsiteY5" fmla="*/ 0 h 931218"/>
                  <a:gd name="connsiteX6" fmla="*/ 2720695 w 2875901"/>
                  <a:gd name="connsiteY6" fmla="*/ 0 h 931218"/>
                  <a:gd name="connsiteX7" fmla="*/ 2875901 w 2875901"/>
                  <a:gd name="connsiteY7" fmla="*/ 155206 h 931218"/>
                  <a:gd name="connsiteX8" fmla="*/ 2875901 w 2875901"/>
                  <a:gd name="connsiteY8" fmla="*/ 471817 h 931218"/>
                  <a:gd name="connsiteX9" fmla="*/ 2875901 w 2875901"/>
                  <a:gd name="connsiteY9" fmla="*/ 776012 h 931218"/>
                  <a:gd name="connsiteX10" fmla="*/ 2720695 w 2875901"/>
                  <a:gd name="connsiteY10" fmla="*/ 931218 h 931218"/>
                  <a:gd name="connsiteX11" fmla="*/ 2284562 w 2875901"/>
                  <a:gd name="connsiteY11" fmla="*/ 931218 h 931218"/>
                  <a:gd name="connsiteX12" fmla="*/ 1848429 w 2875901"/>
                  <a:gd name="connsiteY12" fmla="*/ 931218 h 931218"/>
                  <a:gd name="connsiteX13" fmla="*/ 1284021 w 2875901"/>
                  <a:gd name="connsiteY13" fmla="*/ 931218 h 931218"/>
                  <a:gd name="connsiteX14" fmla="*/ 719614 w 2875901"/>
                  <a:gd name="connsiteY14" fmla="*/ 931218 h 931218"/>
                  <a:gd name="connsiteX15" fmla="*/ 155206 w 2875901"/>
                  <a:gd name="connsiteY15" fmla="*/ 931218 h 931218"/>
                  <a:gd name="connsiteX16" fmla="*/ 0 w 2875901"/>
                  <a:gd name="connsiteY16" fmla="*/ 776012 h 931218"/>
                  <a:gd name="connsiteX17" fmla="*/ 0 w 2875901"/>
                  <a:gd name="connsiteY17" fmla="*/ 471817 h 931218"/>
                  <a:gd name="connsiteX18" fmla="*/ 0 w 2875901"/>
                  <a:gd name="connsiteY18" fmla="*/ 155206 h 931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75901" h="931218" fill="none" extrusionOk="0">
                    <a:moveTo>
                      <a:pt x="0" y="155206"/>
                    </a:moveTo>
                    <a:cubicBezTo>
                      <a:pt x="17512" y="79285"/>
                      <a:pt x="57644" y="-401"/>
                      <a:pt x="155206" y="0"/>
                    </a:cubicBezTo>
                    <a:cubicBezTo>
                      <a:pt x="292449" y="-13818"/>
                      <a:pt x="450931" y="67092"/>
                      <a:pt x="719614" y="0"/>
                    </a:cubicBezTo>
                    <a:cubicBezTo>
                      <a:pt x="988297" y="-67092"/>
                      <a:pt x="978941" y="1444"/>
                      <a:pt x="1181402" y="0"/>
                    </a:cubicBezTo>
                    <a:cubicBezTo>
                      <a:pt x="1383863" y="-1444"/>
                      <a:pt x="1613420" y="63078"/>
                      <a:pt x="1745809" y="0"/>
                    </a:cubicBezTo>
                    <a:cubicBezTo>
                      <a:pt x="1878198" y="-63078"/>
                      <a:pt x="2004965" y="27736"/>
                      <a:pt x="2258907" y="0"/>
                    </a:cubicBezTo>
                    <a:cubicBezTo>
                      <a:pt x="2512849" y="-27736"/>
                      <a:pt x="2516928" y="5770"/>
                      <a:pt x="2720695" y="0"/>
                    </a:cubicBezTo>
                    <a:cubicBezTo>
                      <a:pt x="2788686" y="11972"/>
                      <a:pt x="2877950" y="69359"/>
                      <a:pt x="2875901" y="155206"/>
                    </a:cubicBezTo>
                    <a:cubicBezTo>
                      <a:pt x="2885772" y="231192"/>
                      <a:pt x="2864252" y="355031"/>
                      <a:pt x="2875901" y="471817"/>
                    </a:cubicBezTo>
                    <a:cubicBezTo>
                      <a:pt x="2887550" y="588603"/>
                      <a:pt x="2869513" y="692710"/>
                      <a:pt x="2875901" y="776012"/>
                    </a:cubicBezTo>
                    <a:cubicBezTo>
                      <a:pt x="2859762" y="874599"/>
                      <a:pt x="2826303" y="920990"/>
                      <a:pt x="2720695" y="931218"/>
                    </a:cubicBezTo>
                    <a:cubicBezTo>
                      <a:pt x="2601044" y="966930"/>
                      <a:pt x="2491616" y="879255"/>
                      <a:pt x="2284562" y="931218"/>
                    </a:cubicBezTo>
                    <a:cubicBezTo>
                      <a:pt x="2077508" y="983181"/>
                      <a:pt x="1972239" y="910196"/>
                      <a:pt x="1848429" y="931218"/>
                    </a:cubicBezTo>
                    <a:cubicBezTo>
                      <a:pt x="1724619" y="952240"/>
                      <a:pt x="1505002" y="903487"/>
                      <a:pt x="1284021" y="931218"/>
                    </a:cubicBezTo>
                    <a:cubicBezTo>
                      <a:pt x="1063040" y="958949"/>
                      <a:pt x="835645" y="922702"/>
                      <a:pt x="719614" y="931218"/>
                    </a:cubicBezTo>
                    <a:cubicBezTo>
                      <a:pt x="603583" y="939734"/>
                      <a:pt x="276584" y="893288"/>
                      <a:pt x="155206" y="931218"/>
                    </a:cubicBezTo>
                    <a:cubicBezTo>
                      <a:pt x="64190" y="946977"/>
                      <a:pt x="-3650" y="858237"/>
                      <a:pt x="0" y="776012"/>
                    </a:cubicBezTo>
                    <a:cubicBezTo>
                      <a:pt x="-17369" y="668915"/>
                      <a:pt x="7084" y="551766"/>
                      <a:pt x="0" y="471817"/>
                    </a:cubicBezTo>
                    <a:cubicBezTo>
                      <a:pt x="-7084" y="391868"/>
                      <a:pt x="27101" y="234310"/>
                      <a:pt x="0" y="155206"/>
                    </a:cubicBezTo>
                    <a:close/>
                  </a:path>
                  <a:path w="2875901" h="931218" stroke="0" extrusionOk="0">
                    <a:moveTo>
                      <a:pt x="0" y="155206"/>
                    </a:moveTo>
                    <a:cubicBezTo>
                      <a:pt x="10822" y="63486"/>
                      <a:pt x="72475" y="-6634"/>
                      <a:pt x="155206" y="0"/>
                    </a:cubicBezTo>
                    <a:cubicBezTo>
                      <a:pt x="344956" y="-49905"/>
                      <a:pt x="533803" y="65407"/>
                      <a:pt x="719614" y="0"/>
                    </a:cubicBezTo>
                    <a:cubicBezTo>
                      <a:pt x="905425" y="-65407"/>
                      <a:pt x="1004177" y="2656"/>
                      <a:pt x="1207056" y="0"/>
                    </a:cubicBezTo>
                    <a:cubicBezTo>
                      <a:pt x="1409935" y="-2656"/>
                      <a:pt x="1533663" y="43793"/>
                      <a:pt x="1745809" y="0"/>
                    </a:cubicBezTo>
                    <a:cubicBezTo>
                      <a:pt x="1957955" y="-43793"/>
                      <a:pt x="1991304" y="49522"/>
                      <a:pt x="2207597" y="0"/>
                    </a:cubicBezTo>
                    <a:cubicBezTo>
                      <a:pt x="2423890" y="-49522"/>
                      <a:pt x="2578996" y="17518"/>
                      <a:pt x="2720695" y="0"/>
                    </a:cubicBezTo>
                    <a:cubicBezTo>
                      <a:pt x="2808112" y="-23762"/>
                      <a:pt x="2864533" y="52440"/>
                      <a:pt x="2875901" y="155206"/>
                    </a:cubicBezTo>
                    <a:cubicBezTo>
                      <a:pt x="2911525" y="313011"/>
                      <a:pt x="2861035" y="316800"/>
                      <a:pt x="2875901" y="471817"/>
                    </a:cubicBezTo>
                    <a:cubicBezTo>
                      <a:pt x="2890767" y="626834"/>
                      <a:pt x="2840806" y="657541"/>
                      <a:pt x="2875901" y="776012"/>
                    </a:cubicBezTo>
                    <a:cubicBezTo>
                      <a:pt x="2870766" y="865157"/>
                      <a:pt x="2793768" y="926622"/>
                      <a:pt x="2720695" y="931218"/>
                    </a:cubicBezTo>
                    <a:cubicBezTo>
                      <a:pt x="2475353" y="950229"/>
                      <a:pt x="2308067" y="882920"/>
                      <a:pt x="2181942" y="931218"/>
                    </a:cubicBezTo>
                    <a:cubicBezTo>
                      <a:pt x="2055817" y="979516"/>
                      <a:pt x="1892373" y="906293"/>
                      <a:pt x="1745809" y="931218"/>
                    </a:cubicBezTo>
                    <a:cubicBezTo>
                      <a:pt x="1599245" y="956143"/>
                      <a:pt x="1400623" y="891317"/>
                      <a:pt x="1258366" y="931218"/>
                    </a:cubicBezTo>
                    <a:cubicBezTo>
                      <a:pt x="1116109" y="971119"/>
                      <a:pt x="858247" y="882892"/>
                      <a:pt x="745268" y="931218"/>
                    </a:cubicBezTo>
                    <a:cubicBezTo>
                      <a:pt x="632289" y="979544"/>
                      <a:pt x="364835" y="909187"/>
                      <a:pt x="155206" y="931218"/>
                    </a:cubicBezTo>
                    <a:cubicBezTo>
                      <a:pt x="52095" y="945777"/>
                      <a:pt x="-11507" y="870986"/>
                      <a:pt x="0" y="776012"/>
                    </a:cubicBezTo>
                    <a:cubicBezTo>
                      <a:pt x="-35024" y="690460"/>
                      <a:pt x="19040" y="569116"/>
                      <a:pt x="0" y="471817"/>
                    </a:cubicBezTo>
                    <a:cubicBezTo>
                      <a:pt x="-19040" y="374518"/>
                      <a:pt x="3490" y="221695"/>
                      <a:pt x="0" y="155206"/>
                    </a:cubicBezTo>
                    <a:close/>
                  </a:path>
                </a:pathLst>
              </a:custGeom>
              <a:solidFill>
                <a:sysClr val="windowText" lastClr="000000">
                  <a:alpha val="10000"/>
                </a:sysClr>
              </a:solidFill>
              <a:ln w="12700" cap="flat" cmpd="sng" algn="ctr">
                <a:solidFill>
                  <a:sysClr val="window" lastClr="FFFFFF"/>
                </a:solidFill>
                <a:prstDash val="solid"/>
                <a:miter lim="800000"/>
                <a:extLst>
                  <a:ext uri="{C807C97D-BFC1-408E-A445-0C87EB9F89A2}">
                    <ask:lineSketchStyleProps xmlns:ask="http://schemas.microsoft.com/office/drawing/2018/sketchyshapes" sd="1897970735">
                      <a:prstGeom prst="roundRect">
                        <a:avLst/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  <a:effectLst/>
            </p:spPr>
            <p:txBody>
              <a:bodyPr rtlCol="0" anchor="ctr"/>
              <a:lstStyle/>
              <a:p>
                <a:pPr algn="ctr" defTabSz="609630">
                  <a:defRPr/>
                </a:pPr>
                <a:endParaRPr lang="it-IT" sz="1400" kern="0">
                  <a:solidFill>
                    <a:prstClr val="black"/>
                  </a:solidFill>
                  <a:latin typeface="Graphik" panose="020B0503030202060203" pitchFamily="34" charset="0"/>
                </a:endParaRPr>
              </a:p>
            </p:txBody>
          </p:sp>
          <p:sp>
            <p:nvSpPr>
              <p:cNvPr id="54" name="Rectangle: Rounded Corners 53">
                <a:extLst>
                  <a:ext uri="{FF2B5EF4-FFF2-40B4-BE49-F238E27FC236}">
                    <a16:creationId xmlns:a16="http://schemas.microsoft.com/office/drawing/2014/main" id="{CBB4F788-810E-4C9E-9DE6-216E35397DDC}"/>
                  </a:ext>
                </a:extLst>
              </p:cNvPr>
              <p:cNvSpPr/>
              <p:nvPr/>
            </p:nvSpPr>
            <p:spPr>
              <a:xfrm>
                <a:off x="3826103" y="4263972"/>
                <a:ext cx="2903872" cy="766470"/>
              </a:xfrm>
              <a:custGeom>
                <a:avLst/>
                <a:gdLst>
                  <a:gd name="connsiteX0" fmla="*/ 0 w 2903872"/>
                  <a:gd name="connsiteY0" fmla="*/ 127748 h 766470"/>
                  <a:gd name="connsiteX1" fmla="*/ 127748 w 2903872"/>
                  <a:gd name="connsiteY1" fmla="*/ 0 h 766470"/>
                  <a:gd name="connsiteX2" fmla="*/ 604456 w 2903872"/>
                  <a:gd name="connsiteY2" fmla="*/ 0 h 766470"/>
                  <a:gd name="connsiteX3" fmla="*/ 1160615 w 2903872"/>
                  <a:gd name="connsiteY3" fmla="*/ 0 h 766470"/>
                  <a:gd name="connsiteX4" fmla="*/ 1690290 w 2903872"/>
                  <a:gd name="connsiteY4" fmla="*/ 0 h 766470"/>
                  <a:gd name="connsiteX5" fmla="*/ 2219965 w 2903872"/>
                  <a:gd name="connsiteY5" fmla="*/ 0 h 766470"/>
                  <a:gd name="connsiteX6" fmla="*/ 2776124 w 2903872"/>
                  <a:gd name="connsiteY6" fmla="*/ 0 h 766470"/>
                  <a:gd name="connsiteX7" fmla="*/ 2903872 w 2903872"/>
                  <a:gd name="connsiteY7" fmla="*/ 127748 h 766470"/>
                  <a:gd name="connsiteX8" fmla="*/ 2903872 w 2903872"/>
                  <a:gd name="connsiteY8" fmla="*/ 638722 h 766470"/>
                  <a:gd name="connsiteX9" fmla="*/ 2776124 w 2903872"/>
                  <a:gd name="connsiteY9" fmla="*/ 766470 h 766470"/>
                  <a:gd name="connsiteX10" fmla="*/ 2325900 w 2903872"/>
                  <a:gd name="connsiteY10" fmla="*/ 766470 h 766470"/>
                  <a:gd name="connsiteX11" fmla="*/ 1743257 w 2903872"/>
                  <a:gd name="connsiteY11" fmla="*/ 766470 h 766470"/>
                  <a:gd name="connsiteX12" fmla="*/ 1187098 w 2903872"/>
                  <a:gd name="connsiteY12" fmla="*/ 766470 h 766470"/>
                  <a:gd name="connsiteX13" fmla="*/ 736874 w 2903872"/>
                  <a:gd name="connsiteY13" fmla="*/ 766470 h 766470"/>
                  <a:gd name="connsiteX14" fmla="*/ 127748 w 2903872"/>
                  <a:gd name="connsiteY14" fmla="*/ 766470 h 766470"/>
                  <a:gd name="connsiteX15" fmla="*/ 0 w 2903872"/>
                  <a:gd name="connsiteY15" fmla="*/ 638722 h 766470"/>
                  <a:gd name="connsiteX16" fmla="*/ 0 w 2903872"/>
                  <a:gd name="connsiteY16" fmla="*/ 127748 h 7664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03872" h="766470" fill="none" extrusionOk="0">
                    <a:moveTo>
                      <a:pt x="0" y="127748"/>
                    </a:moveTo>
                    <a:cubicBezTo>
                      <a:pt x="14571" y="66634"/>
                      <a:pt x="52179" y="-16388"/>
                      <a:pt x="127748" y="0"/>
                    </a:cubicBezTo>
                    <a:cubicBezTo>
                      <a:pt x="257101" y="-55523"/>
                      <a:pt x="391992" y="49415"/>
                      <a:pt x="604456" y="0"/>
                    </a:cubicBezTo>
                    <a:cubicBezTo>
                      <a:pt x="816920" y="-49415"/>
                      <a:pt x="895001" y="61575"/>
                      <a:pt x="1160615" y="0"/>
                    </a:cubicBezTo>
                    <a:cubicBezTo>
                      <a:pt x="1426229" y="-61575"/>
                      <a:pt x="1499219" y="50341"/>
                      <a:pt x="1690290" y="0"/>
                    </a:cubicBezTo>
                    <a:cubicBezTo>
                      <a:pt x="1881361" y="-50341"/>
                      <a:pt x="2099583" y="38568"/>
                      <a:pt x="2219965" y="0"/>
                    </a:cubicBezTo>
                    <a:cubicBezTo>
                      <a:pt x="2340348" y="-38568"/>
                      <a:pt x="2613191" y="14932"/>
                      <a:pt x="2776124" y="0"/>
                    </a:cubicBezTo>
                    <a:cubicBezTo>
                      <a:pt x="2846178" y="12555"/>
                      <a:pt x="2909545" y="63123"/>
                      <a:pt x="2903872" y="127748"/>
                    </a:cubicBezTo>
                    <a:cubicBezTo>
                      <a:pt x="2953951" y="244368"/>
                      <a:pt x="2878013" y="400302"/>
                      <a:pt x="2903872" y="638722"/>
                    </a:cubicBezTo>
                    <a:cubicBezTo>
                      <a:pt x="2895554" y="720442"/>
                      <a:pt x="2849149" y="767575"/>
                      <a:pt x="2776124" y="766470"/>
                    </a:cubicBezTo>
                    <a:cubicBezTo>
                      <a:pt x="2667041" y="806542"/>
                      <a:pt x="2522035" y="737207"/>
                      <a:pt x="2325900" y="766470"/>
                    </a:cubicBezTo>
                    <a:cubicBezTo>
                      <a:pt x="2129765" y="795733"/>
                      <a:pt x="1865109" y="737611"/>
                      <a:pt x="1743257" y="766470"/>
                    </a:cubicBezTo>
                    <a:cubicBezTo>
                      <a:pt x="1621405" y="795329"/>
                      <a:pt x="1380104" y="708575"/>
                      <a:pt x="1187098" y="766470"/>
                    </a:cubicBezTo>
                    <a:cubicBezTo>
                      <a:pt x="994092" y="824365"/>
                      <a:pt x="841742" y="723615"/>
                      <a:pt x="736874" y="766470"/>
                    </a:cubicBezTo>
                    <a:cubicBezTo>
                      <a:pt x="632006" y="809325"/>
                      <a:pt x="376169" y="761823"/>
                      <a:pt x="127748" y="766470"/>
                    </a:cubicBezTo>
                    <a:cubicBezTo>
                      <a:pt x="59417" y="769818"/>
                      <a:pt x="-2732" y="707737"/>
                      <a:pt x="0" y="638722"/>
                    </a:cubicBezTo>
                    <a:cubicBezTo>
                      <a:pt x="-49195" y="404631"/>
                      <a:pt x="35945" y="261721"/>
                      <a:pt x="0" y="127748"/>
                    </a:cubicBezTo>
                    <a:close/>
                  </a:path>
                  <a:path w="2903872" h="766470" stroke="0" extrusionOk="0">
                    <a:moveTo>
                      <a:pt x="0" y="127748"/>
                    </a:moveTo>
                    <a:cubicBezTo>
                      <a:pt x="-5107" y="44451"/>
                      <a:pt x="70895" y="6901"/>
                      <a:pt x="127748" y="0"/>
                    </a:cubicBezTo>
                    <a:cubicBezTo>
                      <a:pt x="271239" y="-31568"/>
                      <a:pt x="460811" y="57603"/>
                      <a:pt x="630939" y="0"/>
                    </a:cubicBezTo>
                    <a:cubicBezTo>
                      <a:pt x="801067" y="-57603"/>
                      <a:pt x="1080223" y="31062"/>
                      <a:pt x="1213582" y="0"/>
                    </a:cubicBezTo>
                    <a:cubicBezTo>
                      <a:pt x="1346941" y="-31062"/>
                      <a:pt x="1524335" y="27392"/>
                      <a:pt x="1796225" y="0"/>
                    </a:cubicBezTo>
                    <a:cubicBezTo>
                      <a:pt x="2068115" y="-27392"/>
                      <a:pt x="2048619" y="3409"/>
                      <a:pt x="2272933" y="0"/>
                    </a:cubicBezTo>
                    <a:cubicBezTo>
                      <a:pt x="2497247" y="-3409"/>
                      <a:pt x="2656773" y="57372"/>
                      <a:pt x="2776124" y="0"/>
                    </a:cubicBezTo>
                    <a:cubicBezTo>
                      <a:pt x="2851852" y="2326"/>
                      <a:pt x="2894806" y="54690"/>
                      <a:pt x="2903872" y="127748"/>
                    </a:cubicBezTo>
                    <a:cubicBezTo>
                      <a:pt x="2916843" y="277903"/>
                      <a:pt x="2858951" y="448651"/>
                      <a:pt x="2903872" y="638722"/>
                    </a:cubicBezTo>
                    <a:cubicBezTo>
                      <a:pt x="2886533" y="706931"/>
                      <a:pt x="2847913" y="767963"/>
                      <a:pt x="2776124" y="766470"/>
                    </a:cubicBezTo>
                    <a:cubicBezTo>
                      <a:pt x="2538095" y="798143"/>
                      <a:pt x="2395012" y="738765"/>
                      <a:pt x="2299416" y="766470"/>
                    </a:cubicBezTo>
                    <a:cubicBezTo>
                      <a:pt x="2203820" y="794175"/>
                      <a:pt x="1962022" y="715077"/>
                      <a:pt x="1769741" y="766470"/>
                    </a:cubicBezTo>
                    <a:cubicBezTo>
                      <a:pt x="1577461" y="817863"/>
                      <a:pt x="1421298" y="748531"/>
                      <a:pt x="1213582" y="766470"/>
                    </a:cubicBezTo>
                    <a:cubicBezTo>
                      <a:pt x="1005866" y="784409"/>
                      <a:pt x="791032" y="726533"/>
                      <a:pt x="657423" y="766470"/>
                    </a:cubicBezTo>
                    <a:cubicBezTo>
                      <a:pt x="523814" y="806407"/>
                      <a:pt x="380204" y="714340"/>
                      <a:pt x="127748" y="766470"/>
                    </a:cubicBezTo>
                    <a:cubicBezTo>
                      <a:pt x="42639" y="759862"/>
                      <a:pt x="16457" y="716118"/>
                      <a:pt x="0" y="638722"/>
                    </a:cubicBezTo>
                    <a:cubicBezTo>
                      <a:pt x="-39839" y="471641"/>
                      <a:pt x="45843" y="343051"/>
                      <a:pt x="0" y="127748"/>
                    </a:cubicBezTo>
                    <a:close/>
                  </a:path>
                </a:pathLst>
              </a:custGeom>
              <a:solidFill>
                <a:srgbClr val="70AD47">
                  <a:alpha val="10000"/>
                </a:srgbClr>
              </a:solidFill>
              <a:ln w="12700" cap="flat" cmpd="sng" algn="ctr">
                <a:solidFill>
                  <a:sysClr val="window" lastClr="FFFFFF"/>
                </a:solidFill>
                <a:prstDash val="solid"/>
                <a:miter lim="800000"/>
                <a:extLst>
                  <a:ext uri="{C807C97D-BFC1-408E-A445-0C87EB9F89A2}">
                    <ask:lineSketchStyleProps xmlns:ask="http://schemas.microsoft.com/office/drawing/2018/sketchyshapes" sd="1865819679">
                      <a:prstGeom prst="roundRect">
                        <a:avLst/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  <a:effectLst/>
            </p:spPr>
            <p:txBody>
              <a:bodyPr rtlCol="0" anchor="ctr"/>
              <a:lstStyle/>
              <a:p>
                <a:pPr algn="ctr" defTabSz="609630">
                  <a:defRPr/>
                </a:pPr>
                <a:endParaRPr lang="it-IT" sz="1400" kern="0">
                  <a:solidFill>
                    <a:prstClr val="black"/>
                  </a:solidFill>
                  <a:latin typeface="Graphik" panose="020B0503030202060203" pitchFamily="34" charset="0"/>
                </a:endParaRPr>
              </a:p>
            </p:txBody>
          </p:sp>
          <p:sp>
            <p:nvSpPr>
              <p:cNvPr id="55" name="Rectangle: Rounded Corners 54">
                <a:extLst>
                  <a:ext uri="{FF2B5EF4-FFF2-40B4-BE49-F238E27FC236}">
                    <a16:creationId xmlns:a16="http://schemas.microsoft.com/office/drawing/2014/main" id="{432B8C4D-9E11-411B-B3F4-C7E2CF1EDF62}"/>
                  </a:ext>
                </a:extLst>
              </p:cNvPr>
              <p:cNvSpPr/>
              <p:nvPr/>
            </p:nvSpPr>
            <p:spPr>
              <a:xfrm>
                <a:off x="3826103" y="5057481"/>
                <a:ext cx="2903872" cy="900631"/>
              </a:xfrm>
              <a:custGeom>
                <a:avLst/>
                <a:gdLst>
                  <a:gd name="connsiteX0" fmla="*/ 0 w 2903872"/>
                  <a:gd name="connsiteY0" fmla="*/ 150108 h 900631"/>
                  <a:gd name="connsiteX1" fmla="*/ 150108 w 2903872"/>
                  <a:gd name="connsiteY1" fmla="*/ 0 h 900631"/>
                  <a:gd name="connsiteX2" fmla="*/ 644803 w 2903872"/>
                  <a:gd name="connsiteY2" fmla="*/ 0 h 900631"/>
                  <a:gd name="connsiteX3" fmla="*/ 1087424 w 2903872"/>
                  <a:gd name="connsiteY3" fmla="*/ 0 h 900631"/>
                  <a:gd name="connsiteX4" fmla="*/ 1634192 w 2903872"/>
                  <a:gd name="connsiteY4" fmla="*/ 0 h 900631"/>
                  <a:gd name="connsiteX5" fmla="*/ 2206996 w 2903872"/>
                  <a:gd name="connsiteY5" fmla="*/ 0 h 900631"/>
                  <a:gd name="connsiteX6" fmla="*/ 2753764 w 2903872"/>
                  <a:gd name="connsiteY6" fmla="*/ 0 h 900631"/>
                  <a:gd name="connsiteX7" fmla="*/ 2903872 w 2903872"/>
                  <a:gd name="connsiteY7" fmla="*/ 150108 h 900631"/>
                  <a:gd name="connsiteX8" fmla="*/ 2903872 w 2903872"/>
                  <a:gd name="connsiteY8" fmla="*/ 462324 h 900631"/>
                  <a:gd name="connsiteX9" fmla="*/ 2903872 w 2903872"/>
                  <a:gd name="connsiteY9" fmla="*/ 750523 h 900631"/>
                  <a:gd name="connsiteX10" fmla="*/ 2753764 w 2903872"/>
                  <a:gd name="connsiteY10" fmla="*/ 900631 h 900631"/>
                  <a:gd name="connsiteX11" fmla="*/ 2206996 w 2903872"/>
                  <a:gd name="connsiteY11" fmla="*/ 900631 h 900631"/>
                  <a:gd name="connsiteX12" fmla="*/ 1712302 w 2903872"/>
                  <a:gd name="connsiteY12" fmla="*/ 900631 h 900631"/>
                  <a:gd name="connsiteX13" fmla="*/ 1191570 w 2903872"/>
                  <a:gd name="connsiteY13" fmla="*/ 900631 h 900631"/>
                  <a:gd name="connsiteX14" fmla="*/ 696876 w 2903872"/>
                  <a:gd name="connsiteY14" fmla="*/ 900631 h 900631"/>
                  <a:gd name="connsiteX15" fmla="*/ 150108 w 2903872"/>
                  <a:gd name="connsiteY15" fmla="*/ 900631 h 900631"/>
                  <a:gd name="connsiteX16" fmla="*/ 0 w 2903872"/>
                  <a:gd name="connsiteY16" fmla="*/ 750523 h 900631"/>
                  <a:gd name="connsiteX17" fmla="*/ 0 w 2903872"/>
                  <a:gd name="connsiteY17" fmla="*/ 462324 h 900631"/>
                  <a:gd name="connsiteX18" fmla="*/ 0 w 2903872"/>
                  <a:gd name="connsiteY18" fmla="*/ 150108 h 900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903872" h="900631" fill="none" extrusionOk="0">
                    <a:moveTo>
                      <a:pt x="0" y="150108"/>
                    </a:moveTo>
                    <a:cubicBezTo>
                      <a:pt x="20696" y="67774"/>
                      <a:pt x="58277" y="-14246"/>
                      <a:pt x="150108" y="0"/>
                    </a:cubicBezTo>
                    <a:cubicBezTo>
                      <a:pt x="280344" y="-2131"/>
                      <a:pt x="543230" y="52324"/>
                      <a:pt x="644803" y="0"/>
                    </a:cubicBezTo>
                    <a:cubicBezTo>
                      <a:pt x="746377" y="-52324"/>
                      <a:pt x="867282" y="23724"/>
                      <a:pt x="1087424" y="0"/>
                    </a:cubicBezTo>
                    <a:cubicBezTo>
                      <a:pt x="1307566" y="-23724"/>
                      <a:pt x="1368598" y="6238"/>
                      <a:pt x="1634192" y="0"/>
                    </a:cubicBezTo>
                    <a:cubicBezTo>
                      <a:pt x="1899786" y="-6238"/>
                      <a:pt x="2042278" y="9587"/>
                      <a:pt x="2206996" y="0"/>
                    </a:cubicBezTo>
                    <a:cubicBezTo>
                      <a:pt x="2371714" y="-9587"/>
                      <a:pt x="2640095" y="35985"/>
                      <a:pt x="2753764" y="0"/>
                    </a:cubicBezTo>
                    <a:cubicBezTo>
                      <a:pt x="2827256" y="-7755"/>
                      <a:pt x="2922693" y="77635"/>
                      <a:pt x="2903872" y="150108"/>
                    </a:cubicBezTo>
                    <a:cubicBezTo>
                      <a:pt x="2905679" y="250439"/>
                      <a:pt x="2875625" y="331461"/>
                      <a:pt x="2903872" y="462324"/>
                    </a:cubicBezTo>
                    <a:cubicBezTo>
                      <a:pt x="2932119" y="593187"/>
                      <a:pt x="2884226" y="686093"/>
                      <a:pt x="2903872" y="750523"/>
                    </a:cubicBezTo>
                    <a:cubicBezTo>
                      <a:pt x="2897152" y="836988"/>
                      <a:pt x="2826445" y="895707"/>
                      <a:pt x="2753764" y="900631"/>
                    </a:cubicBezTo>
                    <a:cubicBezTo>
                      <a:pt x="2565787" y="906023"/>
                      <a:pt x="2380514" y="899753"/>
                      <a:pt x="2206996" y="900631"/>
                    </a:cubicBezTo>
                    <a:cubicBezTo>
                      <a:pt x="2033478" y="901509"/>
                      <a:pt x="1826389" y="871506"/>
                      <a:pt x="1712302" y="900631"/>
                    </a:cubicBezTo>
                    <a:cubicBezTo>
                      <a:pt x="1598215" y="929756"/>
                      <a:pt x="1310563" y="848149"/>
                      <a:pt x="1191570" y="900631"/>
                    </a:cubicBezTo>
                    <a:cubicBezTo>
                      <a:pt x="1072577" y="953113"/>
                      <a:pt x="891264" y="857184"/>
                      <a:pt x="696876" y="900631"/>
                    </a:cubicBezTo>
                    <a:cubicBezTo>
                      <a:pt x="502488" y="944078"/>
                      <a:pt x="311680" y="884286"/>
                      <a:pt x="150108" y="900631"/>
                    </a:cubicBezTo>
                    <a:cubicBezTo>
                      <a:pt x="59983" y="885605"/>
                      <a:pt x="11437" y="836531"/>
                      <a:pt x="0" y="750523"/>
                    </a:cubicBezTo>
                    <a:cubicBezTo>
                      <a:pt x="-20806" y="614775"/>
                      <a:pt x="8405" y="593928"/>
                      <a:pt x="0" y="462324"/>
                    </a:cubicBezTo>
                    <a:cubicBezTo>
                      <a:pt x="-8405" y="330720"/>
                      <a:pt x="8175" y="275788"/>
                      <a:pt x="0" y="150108"/>
                    </a:cubicBezTo>
                    <a:close/>
                  </a:path>
                  <a:path w="2903872" h="900631" stroke="0" extrusionOk="0">
                    <a:moveTo>
                      <a:pt x="0" y="150108"/>
                    </a:moveTo>
                    <a:cubicBezTo>
                      <a:pt x="-11086" y="54019"/>
                      <a:pt x="58798" y="4615"/>
                      <a:pt x="150108" y="0"/>
                    </a:cubicBezTo>
                    <a:cubicBezTo>
                      <a:pt x="383430" y="-48746"/>
                      <a:pt x="551316" y="2431"/>
                      <a:pt x="696876" y="0"/>
                    </a:cubicBezTo>
                    <a:cubicBezTo>
                      <a:pt x="842436" y="-2431"/>
                      <a:pt x="958385" y="47460"/>
                      <a:pt x="1165534" y="0"/>
                    </a:cubicBezTo>
                    <a:cubicBezTo>
                      <a:pt x="1372683" y="-47460"/>
                      <a:pt x="1512931" y="26896"/>
                      <a:pt x="1608155" y="0"/>
                    </a:cubicBezTo>
                    <a:cubicBezTo>
                      <a:pt x="1703379" y="-26896"/>
                      <a:pt x="1873447" y="37834"/>
                      <a:pt x="2128887" y="0"/>
                    </a:cubicBezTo>
                    <a:cubicBezTo>
                      <a:pt x="2384327" y="-37834"/>
                      <a:pt x="2586747" y="69309"/>
                      <a:pt x="2753764" y="0"/>
                    </a:cubicBezTo>
                    <a:cubicBezTo>
                      <a:pt x="2819900" y="1462"/>
                      <a:pt x="2916611" y="83703"/>
                      <a:pt x="2903872" y="150108"/>
                    </a:cubicBezTo>
                    <a:cubicBezTo>
                      <a:pt x="2904622" y="217387"/>
                      <a:pt x="2872928" y="379779"/>
                      <a:pt x="2903872" y="462324"/>
                    </a:cubicBezTo>
                    <a:cubicBezTo>
                      <a:pt x="2934816" y="544869"/>
                      <a:pt x="2884365" y="636320"/>
                      <a:pt x="2903872" y="750523"/>
                    </a:cubicBezTo>
                    <a:cubicBezTo>
                      <a:pt x="2896087" y="838746"/>
                      <a:pt x="2828505" y="877765"/>
                      <a:pt x="2753764" y="900631"/>
                    </a:cubicBezTo>
                    <a:cubicBezTo>
                      <a:pt x="2656518" y="917280"/>
                      <a:pt x="2455679" y="876598"/>
                      <a:pt x="2311142" y="900631"/>
                    </a:cubicBezTo>
                    <a:cubicBezTo>
                      <a:pt x="2166605" y="924664"/>
                      <a:pt x="2053115" y="870648"/>
                      <a:pt x="1868521" y="900631"/>
                    </a:cubicBezTo>
                    <a:cubicBezTo>
                      <a:pt x="1683927" y="930614"/>
                      <a:pt x="1511165" y="849576"/>
                      <a:pt x="1295717" y="900631"/>
                    </a:cubicBezTo>
                    <a:cubicBezTo>
                      <a:pt x="1080269" y="951686"/>
                      <a:pt x="970767" y="858730"/>
                      <a:pt x="801022" y="900631"/>
                    </a:cubicBezTo>
                    <a:cubicBezTo>
                      <a:pt x="631277" y="942532"/>
                      <a:pt x="373670" y="899174"/>
                      <a:pt x="150108" y="900631"/>
                    </a:cubicBezTo>
                    <a:cubicBezTo>
                      <a:pt x="62828" y="895232"/>
                      <a:pt x="501" y="829354"/>
                      <a:pt x="0" y="750523"/>
                    </a:cubicBezTo>
                    <a:cubicBezTo>
                      <a:pt x="-30200" y="657452"/>
                      <a:pt x="3987" y="547828"/>
                      <a:pt x="0" y="438307"/>
                    </a:cubicBezTo>
                    <a:cubicBezTo>
                      <a:pt x="-3987" y="328786"/>
                      <a:pt x="4825" y="259291"/>
                      <a:pt x="0" y="150108"/>
                    </a:cubicBezTo>
                    <a:close/>
                  </a:path>
                </a:pathLst>
              </a:custGeom>
              <a:solidFill>
                <a:srgbClr val="FFC000">
                  <a:alpha val="10000"/>
                </a:srgbClr>
              </a:solidFill>
              <a:ln w="12700" cap="flat" cmpd="sng" algn="ctr">
                <a:solidFill>
                  <a:sysClr val="window" lastClr="FFFFFF"/>
                </a:solidFill>
                <a:prstDash val="solid"/>
                <a:miter lim="800000"/>
                <a:extLst>
                  <a:ext uri="{C807C97D-BFC1-408E-A445-0C87EB9F89A2}">
                    <ask:lineSketchStyleProps xmlns:ask="http://schemas.microsoft.com/office/drawing/2018/sketchyshapes" sd="2445857120">
                      <a:prstGeom prst="roundRect">
                        <a:avLst/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  <a:effectLst/>
            </p:spPr>
            <p:txBody>
              <a:bodyPr rtlCol="0" anchor="ctr"/>
              <a:lstStyle/>
              <a:p>
                <a:pPr algn="ctr" defTabSz="609630">
                  <a:defRPr/>
                </a:pPr>
                <a:endParaRPr lang="it-IT" sz="1400" kern="0">
                  <a:solidFill>
                    <a:prstClr val="black"/>
                  </a:solidFill>
                  <a:latin typeface="Graphik" panose="020B0503030202060203" pitchFamily="34" charset="0"/>
                </a:endParaRPr>
              </a:p>
            </p:txBody>
          </p:sp>
          <p:sp>
            <p:nvSpPr>
              <p:cNvPr id="56" name="Rectangle: Rounded Corners 55">
                <a:extLst>
                  <a:ext uri="{FF2B5EF4-FFF2-40B4-BE49-F238E27FC236}">
                    <a16:creationId xmlns:a16="http://schemas.microsoft.com/office/drawing/2014/main" id="{0B96F87C-BA3D-409A-A6C4-1DE943623B86}"/>
                  </a:ext>
                </a:extLst>
              </p:cNvPr>
              <p:cNvSpPr/>
              <p:nvPr/>
            </p:nvSpPr>
            <p:spPr>
              <a:xfrm>
                <a:off x="3826103" y="2411813"/>
                <a:ext cx="2903872" cy="852741"/>
              </a:xfrm>
              <a:custGeom>
                <a:avLst/>
                <a:gdLst>
                  <a:gd name="connsiteX0" fmla="*/ 0 w 2903872"/>
                  <a:gd name="connsiteY0" fmla="*/ 142126 h 852741"/>
                  <a:gd name="connsiteX1" fmla="*/ 142126 w 2903872"/>
                  <a:gd name="connsiteY1" fmla="*/ 0 h 852741"/>
                  <a:gd name="connsiteX2" fmla="*/ 718442 w 2903872"/>
                  <a:gd name="connsiteY2" fmla="*/ 0 h 852741"/>
                  <a:gd name="connsiteX3" fmla="*/ 1189974 w 2903872"/>
                  <a:gd name="connsiteY3" fmla="*/ 0 h 852741"/>
                  <a:gd name="connsiteX4" fmla="*/ 1766290 w 2903872"/>
                  <a:gd name="connsiteY4" fmla="*/ 0 h 852741"/>
                  <a:gd name="connsiteX5" fmla="*/ 2761746 w 2903872"/>
                  <a:gd name="connsiteY5" fmla="*/ 0 h 852741"/>
                  <a:gd name="connsiteX6" fmla="*/ 2903872 w 2903872"/>
                  <a:gd name="connsiteY6" fmla="*/ 142126 h 852741"/>
                  <a:gd name="connsiteX7" fmla="*/ 2903872 w 2903872"/>
                  <a:gd name="connsiteY7" fmla="*/ 710615 h 852741"/>
                  <a:gd name="connsiteX8" fmla="*/ 2761746 w 2903872"/>
                  <a:gd name="connsiteY8" fmla="*/ 852741 h 852741"/>
                  <a:gd name="connsiteX9" fmla="*/ 2316411 w 2903872"/>
                  <a:gd name="connsiteY9" fmla="*/ 852741 h 852741"/>
                  <a:gd name="connsiteX10" fmla="*/ 1818683 w 2903872"/>
                  <a:gd name="connsiteY10" fmla="*/ 852741 h 852741"/>
                  <a:gd name="connsiteX11" fmla="*/ 1347151 w 2903872"/>
                  <a:gd name="connsiteY11" fmla="*/ 852741 h 852741"/>
                  <a:gd name="connsiteX12" fmla="*/ 901816 w 2903872"/>
                  <a:gd name="connsiteY12" fmla="*/ 852741 h 852741"/>
                  <a:gd name="connsiteX13" fmla="*/ 142126 w 2903872"/>
                  <a:gd name="connsiteY13" fmla="*/ 852741 h 852741"/>
                  <a:gd name="connsiteX14" fmla="*/ 0 w 2903872"/>
                  <a:gd name="connsiteY14" fmla="*/ 710615 h 852741"/>
                  <a:gd name="connsiteX15" fmla="*/ 0 w 2903872"/>
                  <a:gd name="connsiteY15" fmla="*/ 142126 h 852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903872" h="852741" fill="none" extrusionOk="0">
                    <a:moveTo>
                      <a:pt x="0" y="142126"/>
                    </a:moveTo>
                    <a:cubicBezTo>
                      <a:pt x="-2020" y="62241"/>
                      <a:pt x="55711" y="14064"/>
                      <a:pt x="142126" y="0"/>
                    </a:cubicBezTo>
                    <a:cubicBezTo>
                      <a:pt x="413358" y="-4687"/>
                      <a:pt x="485884" y="23856"/>
                      <a:pt x="718442" y="0"/>
                    </a:cubicBezTo>
                    <a:cubicBezTo>
                      <a:pt x="951000" y="-23856"/>
                      <a:pt x="1019954" y="11634"/>
                      <a:pt x="1189974" y="0"/>
                    </a:cubicBezTo>
                    <a:cubicBezTo>
                      <a:pt x="1359994" y="-11634"/>
                      <a:pt x="1621122" y="27683"/>
                      <a:pt x="1766290" y="0"/>
                    </a:cubicBezTo>
                    <a:cubicBezTo>
                      <a:pt x="1911458" y="-27683"/>
                      <a:pt x="2268741" y="8331"/>
                      <a:pt x="2761746" y="0"/>
                    </a:cubicBezTo>
                    <a:cubicBezTo>
                      <a:pt x="2844287" y="11684"/>
                      <a:pt x="2906085" y="52327"/>
                      <a:pt x="2903872" y="142126"/>
                    </a:cubicBezTo>
                    <a:cubicBezTo>
                      <a:pt x="2937632" y="284074"/>
                      <a:pt x="2853812" y="551559"/>
                      <a:pt x="2903872" y="710615"/>
                    </a:cubicBezTo>
                    <a:cubicBezTo>
                      <a:pt x="2887428" y="782301"/>
                      <a:pt x="2832776" y="836450"/>
                      <a:pt x="2761746" y="852741"/>
                    </a:cubicBezTo>
                    <a:cubicBezTo>
                      <a:pt x="2616109" y="865354"/>
                      <a:pt x="2475922" y="837745"/>
                      <a:pt x="2316411" y="852741"/>
                    </a:cubicBezTo>
                    <a:cubicBezTo>
                      <a:pt x="2156901" y="867737"/>
                      <a:pt x="1976388" y="835180"/>
                      <a:pt x="1818683" y="852741"/>
                    </a:cubicBezTo>
                    <a:cubicBezTo>
                      <a:pt x="1660978" y="870302"/>
                      <a:pt x="1526490" y="824074"/>
                      <a:pt x="1347151" y="852741"/>
                    </a:cubicBezTo>
                    <a:cubicBezTo>
                      <a:pt x="1167812" y="881408"/>
                      <a:pt x="1057195" y="849266"/>
                      <a:pt x="901816" y="852741"/>
                    </a:cubicBezTo>
                    <a:cubicBezTo>
                      <a:pt x="746438" y="856216"/>
                      <a:pt x="330293" y="761834"/>
                      <a:pt x="142126" y="852741"/>
                    </a:cubicBezTo>
                    <a:cubicBezTo>
                      <a:pt x="59082" y="851070"/>
                      <a:pt x="-10347" y="803047"/>
                      <a:pt x="0" y="710615"/>
                    </a:cubicBezTo>
                    <a:cubicBezTo>
                      <a:pt x="-61042" y="517403"/>
                      <a:pt x="19601" y="294429"/>
                      <a:pt x="0" y="142126"/>
                    </a:cubicBezTo>
                    <a:close/>
                  </a:path>
                  <a:path w="2903872" h="852741" stroke="0" extrusionOk="0">
                    <a:moveTo>
                      <a:pt x="0" y="142126"/>
                    </a:moveTo>
                    <a:cubicBezTo>
                      <a:pt x="-4183" y="63542"/>
                      <a:pt x="59948" y="14017"/>
                      <a:pt x="142126" y="0"/>
                    </a:cubicBezTo>
                    <a:cubicBezTo>
                      <a:pt x="303938" y="-9225"/>
                      <a:pt x="442724" y="47854"/>
                      <a:pt x="587461" y="0"/>
                    </a:cubicBezTo>
                    <a:cubicBezTo>
                      <a:pt x="732198" y="-47854"/>
                      <a:pt x="819265" y="23963"/>
                      <a:pt x="1032797" y="0"/>
                    </a:cubicBezTo>
                    <a:cubicBezTo>
                      <a:pt x="1246329" y="-23963"/>
                      <a:pt x="1277696" y="53213"/>
                      <a:pt x="1504328" y="0"/>
                    </a:cubicBezTo>
                    <a:cubicBezTo>
                      <a:pt x="1730960" y="-53213"/>
                      <a:pt x="1902839" y="33259"/>
                      <a:pt x="2054449" y="0"/>
                    </a:cubicBezTo>
                    <a:cubicBezTo>
                      <a:pt x="2206059" y="-33259"/>
                      <a:pt x="2598581" y="53544"/>
                      <a:pt x="2761746" y="0"/>
                    </a:cubicBezTo>
                    <a:cubicBezTo>
                      <a:pt x="2851299" y="20372"/>
                      <a:pt x="2905239" y="78089"/>
                      <a:pt x="2903872" y="142126"/>
                    </a:cubicBezTo>
                    <a:cubicBezTo>
                      <a:pt x="2940615" y="409643"/>
                      <a:pt x="2870107" y="545192"/>
                      <a:pt x="2903872" y="710615"/>
                    </a:cubicBezTo>
                    <a:cubicBezTo>
                      <a:pt x="2916217" y="804405"/>
                      <a:pt x="2839592" y="844466"/>
                      <a:pt x="2761746" y="852741"/>
                    </a:cubicBezTo>
                    <a:cubicBezTo>
                      <a:pt x="2618254" y="866208"/>
                      <a:pt x="2459645" y="790165"/>
                      <a:pt x="2237822" y="852741"/>
                    </a:cubicBezTo>
                    <a:cubicBezTo>
                      <a:pt x="2015999" y="915317"/>
                      <a:pt x="1962808" y="843579"/>
                      <a:pt x="1792487" y="852741"/>
                    </a:cubicBezTo>
                    <a:cubicBezTo>
                      <a:pt x="1622167" y="861903"/>
                      <a:pt x="1502775" y="836532"/>
                      <a:pt x="1268563" y="852741"/>
                    </a:cubicBezTo>
                    <a:cubicBezTo>
                      <a:pt x="1034351" y="868950"/>
                      <a:pt x="976493" y="829211"/>
                      <a:pt x="823227" y="852741"/>
                    </a:cubicBezTo>
                    <a:cubicBezTo>
                      <a:pt x="669961" y="876271"/>
                      <a:pt x="353610" y="775379"/>
                      <a:pt x="142126" y="852741"/>
                    </a:cubicBezTo>
                    <a:cubicBezTo>
                      <a:pt x="78639" y="837169"/>
                      <a:pt x="-8840" y="785029"/>
                      <a:pt x="0" y="710615"/>
                    </a:cubicBezTo>
                    <a:cubicBezTo>
                      <a:pt x="-26263" y="510968"/>
                      <a:pt x="19076" y="405559"/>
                      <a:pt x="0" y="142126"/>
                    </a:cubicBezTo>
                    <a:close/>
                  </a:path>
                </a:pathLst>
              </a:custGeom>
              <a:solidFill>
                <a:srgbClr val="C15811">
                  <a:alpha val="10000"/>
                </a:srgbClr>
              </a:solidFill>
              <a:ln w="12700" cap="flat" cmpd="sng" algn="ctr">
                <a:solidFill>
                  <a:sysClr val="window" lastClr="FFFFFF"/>
                </a:solidFill>
                <a:prstDash val="solid"/>
                <a:miter lim="800000"/>
                <a:extLst>
                  <a:ext uri="{C807C97D-BFC1-408E-A445-0C87EB9F89A2}">
                    <ask:lineSketchStyleProps xmlns:ask="http://schemas.microsoft.com/office/drawing/2018/sketchyshapes" sd="2955277605">
                      <a:prstGeom prst="roundRect">
                        <a:avLst/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  <a:effectLst/>
            </p:spPr>
            <p:txBody>
              <a:bodyPr rtlCol="0" anchor="ctr"/>
              <a:lstStyle/>
              <a:p>
                <a:pPr algn="ctr" defTabSz="609630">
                  <a:defRPr/>
                </a:pPr>
                <a:endParaRPr lang="it-IT" sz="1400" kern="0">
                  <a:solidFill>
                    <a:prstClr val="black"/>
                  </a:solidFill>
                  <a:latin typeface="Graphik" panose="020B0503030202060203" pitchFamily="34" charset="0"/>
                </a:endParaRPr>
              </a:p>
            </p:txBody>
          </p:sp>
          <p:sp>
            <p:nvSpPr>
              <p:cNvPr id="57" name="Rectangle: Rounded Corners 56">
                <a:extLst>
                  <a:ext uri="{FF2B5EF4-FFF2-40B4-BE49-F238E27FC236}">
                    <a16:creationId xmlns:a16="http://schemas.microsoft.com/office/drawing/2014/main" id="{D9A62CC5-3ED6-419A-A9EF-FA6C276486C4}"/>
                  </a:ext>
                </a:extLst>
              </p:cNvPr>
              <p:cNvSpPr/>
              <p:nvPr/>
            </p:nvSpPr>
            <p:spPr>
              <a:xfrm>
                <a:off x="3826103" y="1502909"/>
                <a:ext cx="2903872" cy="865400"/>
              </a:xfrm>
              <a:custGeom>
                <a:avLst/>
                <a:gdLst>
                  <a:gd name="connsiteX0" fmla="*/ 0 w 2903872"/>
                  <a:gd name="connsiteY0" fmla="*/ 144236 h 865400"/>
                  <a:gd name="connsiteX1" fmla="*/ 144236 w 2903872"/>
                  <a:gd name="connsiteY1" fmla="*/ 0 h 865400"/>
                  <a:gd name="connsiteX2" fmla="*/ 667316 w 2903872"/>
                  <a:gd name="connsiteY2" fmla="*/ 0 h 865400"/>
                  <a:gd name="connsiteX3" fmla="*/ 1242704 w 2903872"/>
                  <a:gd name="connsiteY3" fmla="*/ 0 h 865400"/>
                  <a:gd name="connsiteX4" fmla="*/ 1687322 w 2903872"/>
                  <a:gd name="connsiteY4" fmla="*/ 0 h 865400"/>
                  <a:gd name="connsiteX5" fmla="*/ 2184248 w 2903872"/>
                  <a:gd name="connsiteY5" fmla="*/ 0 h 865400"/>
                  <a:gd name="connsiteX6" fmla="*/ 2759636 w 2903872"/>
                  <a:gd name="connsiteY6" fmla="*/ 0 h 865400"/>
                  <a:gd name="connsiteX7" fmla="*/ 2903872 w 2903872"/>
                  <a:gd name="connsiteY7" fmla="*/ 144236 h 865400"/>
                  <a:gd name="connsiteX8" fmla="*/ 2903872 w 2903872"/>
                  <a:gd name="connsiteY8" fmla="*/ 721164 h 865400"/>
                  <a:gd name="connsiteX9" fmla="*/ 2759636 w 2903872"/>
                  <a:gd name="connsiteY9" fmla="*/ 865400 h 865400"/>
                  <a:gd name="connsiteX10" fmla="*/ 2210402 w 2903872"/>
                  <a:gd name="connsiteY10" fmla="*/ 865400 h 865400"/>
                  <a:gd name="connsiteX11" fmla="*/ 1765784 w 2903872"/>
                  <a:gd name="connsiteY11" fmla="*/ 865400 h 865400"/>
                  <a:gd name="connsiteX12" fmla="*/ 1321166 w 2903872"/>
                  <a:gd name="connsiteY12" fmla="*/ 865400 h 865400"/>
                  <a:gd name="connsiteX13" fmla="*/ 824240 w 2903872"/>
                  <a:gd name="connsiteY13" fmla="*/ 865400 h 865400"/>
                  <a:gd name="connsiteX14" fmla="*/ 144236 w 2903872"/>
                  <a:gd name="connsiteY14" fmla="*/ 865400 h 865400"/>
                  <a:gd name="connsiteX15" fmla="*/ 0 w 2903872"/>
                  <a:gd name="connsiteY15" fmla="*/ 721164 h 865400"/>
                  <a:gd name="connsiteX16" fmla="*/ 0 w 2903872"/>
                  <a:gd name="connsiteY16" fmla="*/ 144236 h 865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03872" h="865400" fill="none" extrusionOk="0">
                    <a:moveTo>
                      <a:pt x="0" y="144236"/>
                    </a:moveTo>
                    <a:cubicBezTo>
                      <a:pt x="-9101" y="49177"/>
                      <a:pt x="62243" y="9286"/>
                      <a:pt x="144236" y="0"/>
                    </a:cubicBezTo>
                    <a:cubicBezTo>
                      <a:pt x="326718" y="-37833"/>
                      <a:pt x="558609" y="1334"/>
                      <a:pt x="667316" y="0"/>
                    </a:cubicBezTo>
                    <a:cubicBezTo>
                      <a:pt x="776023" y="-1334"/>
                      <a:pt x="1038145" y="64768"/>
                      <a:pt x="1242704" y="0"/>
                    </a:cubicBezTo>
                    <a:cubicBezTo>
                      <a:pt x="1447263" y="-64768"/>
                      <a:pt x="1466102" y="53039"/>
                      <a:pt x="1687322" y="0"/>
                    </a:cubicBezTo>
                    <a:cubicBezTo>
                      <a:pt x="1908542" y="-53039"/>
                      <a:pt x="2067694" y="7857"/>
                      <a:pt x="2184248" y="0"/>
                    </a:cubicBezTo>
                    <a:cubicBezTo>
                      <a:pt x="2300802" y="-7857"/>
                      <a:pt x="2589491" y="32245"/>
                      <a:pt x="2759636" y="0"/>
                    </a:cubicBezTo>
                    <a:cubicBezTo>
                      <a:pt x="2840078" y="4269"/>
                      <a:pt x="2903677" y="54421"/>
                      <a:pt x="2903872" y="144236"/>
                    </a:cubicBezTo>
                    <a:cubicBezTo>
                      <a:pt x="2910992" y="390743"/>
                      <a:pt x="2870338" y="472575"/>
                      <a:pt x="2903872" y="721164"/>
                    </a:cubicBezTo>
                    <a:cubicBezTo>
                      <a:pt x="2908851" y="788425"/>
                      <a:pt x="2841551" y="874900"/>
                      <a:pt x="2759636" y="865400"/>
                    </a:cubicBezTo>
                    <a:cubicBezTo>
                      <a:pt x="2638916" y="880361"/>
                      <a:pt x="2472030" y="800241"/>
                      <a:pt x="2210402" y="865400"/>
                    </a:cubicBezTo>
                    <a:cubicBezTo>
                      <a:pt x="1948774" y="930559"/>
                      <a:pt x="1938879" y="841656"/>
                      <a:pt x="1765784" y="865400"/>
                    </a:cubicBezTo>
                    <a:cubicBezTo>
                      <a:pt x="1592689" y="889144"/>
                      <a:pt x="1510638" y="862803"/>
                      <a:pt x="1321166" y="865400"/>
                    </a:cubicBezTo>
                    <a:cubicBezTo>
                      <a:pt x="1131694" y="867997"/>
                      <a:pt x="968025" y="821344"/>
                      <a:pt x="824240" y="865400"/>
                    </a:cubicBezTo>
                    <a:cubicBezTo>
                      <a:pt x="680455" y="909456"/>
                      <a:pt x="398442" y="823247"/>
                      <a:pt x="144236" y="865400"/>
                    </a:cubicBezTo>
                    <a:cubicBezTo>
                      <a:pt x="64091" y="888615"/>
                      <a:pt x="966" y="798016"/>
                      <a:pt x="0" y="721164"/>
                    </a:cubicBezTo>
                    <a:cubicBezTo>
                      <a:pt x="-6543" y="461620"/>
                      <a:pt x="62509" y="380668"/>
                      <a:pt x="0" y="144236"/>
                    </a:cubicBezTo>
                    <a:close/>
                  </a:path>
                  <a:path w="2903872" h="865400" stroke="0" extrusionOk="0">
                    <a:moveTo>
                      <a:pt x="0" y="144236"/>
                    </a:moveTo>
                    <a:cubicBezTo>
                      <a:pt x="5357" y="53286"/>
                      <a:pt x="79151" y="15439"/>
                      <a:pt x="144236" y="0"/>
                    </a:cubicBezTo>
                    <a:cubicBezTo>
                      <a:pt x="289726" y="-39196"/>
                      <a:pt x="480637" y="34681"/>
                      <a:pt x="615008" y="0"/>
                    </a:cubicBezTo>
                    <a:cubicBezTo>
                      <a:pt x="749379" y="-34681"/>
                      <a:pt x="1014805" y="19947"/>
                      <a:pt x="1138088" y="0"/>
                    </a:cubicBezTo>
                    <a:cubicBezTo>
                      <a:pt x="1261371" y="-19947"/>
                      <a:pt x="1505175" y="54577"/>
                      <a:pt x="1661168" y="0"/>
                    </a:cubicBezTo>
                    <a:cubicBezTo>
                      <a:pt x="1817161" y="-54577"/>
                      <a:pt x="1993487" y="35283"/>
                      <a:pt x="2105786" y="0"/>
                    </a:cubicBezTo>
                    <a:cubicBezTo>
                      <a:pt x="2218085" y="-35283"/>
                      <a:pt x="2543813" y="37207"/>
                      <a:pt x="2759636" y="0"/>
                    </a:cubicBezTo>
                    <a:cubicBezTo>
                      <a:pt x="2846600" y="2273"/>
                      <a:pt x="2905827" y="66488"/>
                      <a:pt x="2903872" y="144236"/>
                    </a:cubicBezTo>
                    <a:cubicBezTo>
                      <a:pt x="2946257" y="345248"/>
                      <a:pt x="2847893" y="523309"/>
                      <a:pt x="2903872" y="721164"/>
                    </a:cubicBezTo>
                    <a:cubicBezTo>
                      <a:pt x="2919152" y="805536"/>
                      <a:pt x="2853880" y="877951"/>
                      <a:pt x="2759636" y="865400"/>
                    </a:cubicBezTo>
                    <a:cubicBezTo>
                      <a:pt x="2534589" y="909210"/>
                      <a:pt x="2341722" y="822258"/>
                      <a:pt x="2236556" y="865400"/>
                    </a:cubicBezTo>
                    <a:cubicBezTo>
                      <a:pt x="2131390" y="908542"/>
                      <a:pt x="1909353" y="825328"/>
                      <a:pt x="1661168" y="865400"/>
                    </a:cubicBezTo>
                    <a:cubicBezTo>
                      <a:pt x="1412983" y="905472"/>
                      <a:pt x="1424162" y="812646"/>
                      <a:pt x="1216550" y="865400"/>
                    </a:cubicBezTo>
                    <a:cubicBezTo>
                      <a:pt x="1008938" y="918154"/>
                      <a:pt x="818954" y="856360"/>
                      <a:pt x="693470" y="865400"/>
                    </a:cubicBezTo>
                    <a:cubicBezTo>
                      <a:pt x="567986" y="874440"/>
                      <a:pt x="327263" y="812928"/>
                      <a:pt x="144236" y="865400"/>
                    </a:cubicBezTo>
                    <a:cubicBezTo>
                      <a:pt x="68339" y="864854"/>
                      <a:pt x="19886" y="805606"/>
                      <a:pt x="0" y="721164"/>
                    </a:cubicBezTo>
                    <a:cubicBezTo>
                      <a:pt x="-40442" y="596871"/>
                      <a:pt x="66428" y="309864"/>
                      <a:pt x="0" y="144236"/>
                    </a:cubicBezTo>
                    <a:close/>
                  </a:path>
                </a:pathLst>
              </a:custGeom>
              <a:solidFill>
                <a:srgbClr val="0070A2">
                  <a:alpha val="10000"/>
                </a:srgbClr>
              </a:solidFill>
              <a:ln w="12700" cap="flat" cmpd="sng" algn="ctr">
                <a:solidFill>
                  <a:sysClr val="window" lastClr="FFFFFF"/>
                </a:solidFill>
                <a:prstDash val="solid"/>
                <a:miter lim="800000"/>
                <a:extLst>
                  <a:ext uri="{C807C97D-BFC1-408E-A445-0C87EB9F89A2}">
                    <ask:lineSketchStyleProps xmlns:ask="http://schemas.microsoft.com/office/drawing/2018/sketchyshapes" sd="582131968">
                      <a:prstGeom prst="roundRect">
                        <a:avLst/>
                      </a:prstGeom>
                      <ask:type>
                        <ask:lineSketchScribble/>
                      </ask:type>
                    </ask:lineSketchStyleProps>
                  </a:ext>
                </a:extLst>
              </a:ln>
              <a:effectLst/>
            </p:spPr>
            <p:txBody>
              <a:bodyPr rtlCol="0" anchor="ctr"/>
              <a:lstStyle/>
              <a:p>
                <a:pPr algn="ctr" defTabSz="609630">
                  <a:defRPr/>
                </a:pPr>
                <a:endParaRPr lang="it-IT" sz="1400" kern="0">
                  <a:solidFill>
                    <a:prstClr val="black"/>
                  </a:solidFill>
                  <a:latin typeface="Graphik" panose="020B0503030202060203" pitchFamily="34" charset="0"/>
                </a:endParaRPr>
              </a:p>
            </p:txBody>
          </p:sp>
          <p:sp>
            <p:nvSpPr>
              <p:cNvPr id="58" name="Rectangle: Rounded Corners 57">
                <a:extLst>
                  <a:ext uri="{FF2B5EF4-FFF2-40B4-BE49-F238E27FC236}">
                    <a16:creationId xmlns:a16="http://schemas.microsoft.com/office/drawing/2014/main" id="{29F6E1C5-8AE3-4F3D-8737-5953A053DEB2}"/>
                  </a:ext>
                </a:extLst>
              </p:cNvPr>
              <p:cNvSpPr/>
              <p:nvPr/>
            </p:nvSpPr>
            <p:spPr>
              <a:xfrm>
                <a:off x="4129896" y="409386"/>
                <a:ext cx="2620463" cy="5887634"/>
              </a:xfrm>
              <a:prstGeom prst="roundRect">
                <a:avLst>
                  <a:gd name="adj" fmla="val 2649"/>
                </a:avLst>
              </a:prstGeom>
              <a:noFill/>
              <a:ln w="12700" cap="flat" cmpd="sng" algn="ctr">
                <a:solidFill>
                  <a:sysClr val="windowText" lastClr="000000">
                    <a:lumMod val="50000"/>
                    <a:lumOff val="50000"/>
                  </a:sysClr>
                </a:solidFill>
                <a:prstDash val="sysDot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609630">
                  <a:defRPr/>
                </a:pPr>
                <a:endParaRPr lang="it-IT" sz="1400" kern="0">
                  <a:solidFill>
                    <a:prstClr val="white"/>
                  </a:solidFill>
                  <a:latin typeface="Graphik" panose="020B0503030202060203" pitchFamily="34" charset="0"/>
                </a:endParaRP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1B1A6477-2343-48DA-B4C7-776AAE017DCD}"/>
                  </a:ext>
                </a:extLst>
              </p:cNvPr>
              <p:cNvSpPr txBox="1"/>
              <p:nvPr/>
            </p:nvSpPr>
            <p:spPr>
              <a:xfrm>
                <a:off x="4905549" y="1766332"/>
                <a:ext cx="1456766" cy="3724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it-IT"/>
                </a:defPPr>
                <a:lvl1pPr algn="ctr">
                  <a:defRPr sz="900" b="1">
                    <a:solidFill>
                      <a:srgbClr val="2E75B6"/>
                    </a:solidFill>
                  </a:defRPr>
                </a:lvl1pPr>
              </a:lstStyle>
              <a:p>
                <a:pPr defTabSz="609630">
                  <a:defRPr/>
                </a:pPr>
                <a:r>
                  <a:rPr lang="it-IT" sz="1400" kern="0" dirty="0">
                    <a:latin typeface="Graphik" panose="020B0503030202060203" pitchFamily="34" charset="0"/>
                  </a:rPr>
                  <a:t>Sistema CUP</a:t>
                </a:r>
              </a:p>
            </p:txBody>
          </p:sp>
          <p:pic>
            <p:nvPicPr>
              <p:cNvPr id="61" name="Picture 2" descr="Soluciones e-commerce | Info[Optima]">
                <a:extLst>
                  <a:ext uri="{FF2B5EF4-FFF2-40B4-BE49-F238E27FC236}">
                    <a16:creationId xmlns:a16="http://schemas.microsoft.com/office/drawing/2014/main" id="{0BB39432-15A5-427B-8383-E38E4D57467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>
                <a:duotone>
                  <a:srgbClr val="5B9BD5">
                    <a:shade val="45000"/>
                    <a:satMod val="135000"/>
                  </a:srgbClr>
                  <a:prstClr val="white"/>
                </a:duotone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80154" y="1781771"/>
                <a:ext cx="319680" cy="30767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E46A619D-7BC8-4328-867B-24DAFEF9CDCD}"/>
                  </a:ext>
                </a:extLst>
              </p:cNvPr>
              <p:cNvSpPr txBox="1"/>
              <p:nvPr/>
            </p:nvSpPr>
            <p:spPr>
              <a:xfrm>
                <a:off x="4825057" y="2545796"/>
                <a:ext cx="1617751" cy="63309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it-IT"/>
                </a:defPPr>
                <a:lvl1pPr algn="r">
                  <a:defRPr sz="900" b="1">
                    <a:solidFill>
                      <a:srgbClr val="BE5209"/>
                    </a:solidFill>
                  </a:defRPr>
                </a:lvl1pPr>
              </a:lstStyle>
              <a:p>
                <a:pPr algn="ctr" defTabSz="609630">
                  <a:defRPr/>
                </a:pPr>
                <a:r>
                  <a:rPr lang="it-IT" sz="1400" kern="0">
                    <a:latin typeface="Graphik" panose="020B0503030202060203" pitchFamily="34" charset="0"/>
                  </a:rPr>
                  <a:t>Sistema SIMOG </a:t>
                </a:r>
              </a:p>
              <a:p>
                <a:pPr algn="ctr" defTabSz="609630">
                  <a:defRPr/>
                </a:pPr>
                <a:r>
                  <a:rPr lang="it-IT" sz="1400" kern="0">
                    <a:latin typeface="Graphik" panose="020B0503030202060203" pitchFamily="34" charset="0"/>
                  </a:rPr>
                  <a:t>di ANAC</a:t>
                </a:r>
              </a:p>
            </p:txBody>
          </p:sp>
          <p:pic>
            <p:nvPicPr>
              <p:cNvPr id="63" name="Picture 2" descr="Soluciones e-commerce | Info[Optima]">
                <a:extLst>
                  <a:ext uri="{FF2B5EF4-FFF2-40B4-BE49-F238E27FC236}">
                    <a16:creationId xmlns:a16="http://schemas.microsoft.com/office/drawing/2014/main" id="{B0B74C14-FB83-4DF3-B93F-0BDDE0E4308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ED7D31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48447" y="2684345"/>
                <a:ext cx="319680" cy="30767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3FF7690C-7932-41EB-A403-C88F5A3858A8}"/>
                  </a:ext>
                </a:extLst>
              </p:cNvPr>
              <p:cNvSpPr txBox="1"/>
              <p:nvPr/>
            </p:nvSpPr>
            <p:spPr>
              <a:xfrm>
                <a:off x="4484899" y="3371629"/>
                <a:ext cx="2298067" cy="8937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it-IT"/>
                </a:defPPr>
                <a:lvl1pPr algn="ctr">
                  <a:defRPr sz="900" b="1">
                    <a:solidFill>
                      <a:srgbClr val="2E75B6"/>
                    </a:solidFill>
                  </a:defRPr>
                </a:lvl1pPr>
              </a:lstStyle>
              <a:p>
                <a:pPr defTabSz="609630">
                  <a:defRPr/>
                </a:pPr>
                <a:r>
                  <a:rPr lang="it-IT" sz="1400" kern="0" dirty="0">
                    <a:solidFill>
                      <a:prstClr val="black"/>
                    </a:solidFill>
                    <a:latin typeface="Graphik" panose="020B0503030202060203" pitchFamily="34" charset="0"/>
                  </a:rPr>
                  <a:t>Banca Dati delle Pubbliche </a:t>
                </a:r>
                <a:r>
                  <a:rPr lang="it-IT" sz="1400" kern="0" dirty="0" err="1">
                    <a:solidFill>
                      <a:prstClr val="black"/>
                    </a:solidFill>
                    <a:latin typeface="Graphik" panose="020B0503030202060203" pitchFamily="34" charset="0"/>
                  </a:rPr>
                  <a:t>Amm</a:t>
                </a:r>
                <a:r>
                  <a:rPr lang="it-IT" sz="1400" kern="0" dirty="0">
                    <a:solidFill>
                      <a:prstClr val="black"/>
                    </a:solidFill>
                    <a:latin typeface="Graphik" panose="020B0503030202060203" pitchFamily="34" charset="0"/>
                  </a:rPr>
                  <a:t>.</a:t>
                </a:r>
              </a:p>
              <a:p>
                <a:pPr defTabSz="609630">
                  <a:defRPr/>
                </a:pPr>
                <a:r>
                  <a:rPr lang="it-IT" sz="1400" kern="0" dirty="0">
                    <a:solidFill>
                      <a:prstClr val="black"/>
                    </a:solidFill>
                    <a:latin typeface="Graphik" panose="020B0503030202060203" pitchFamily="34" charset="0"/>
                  </a:rPr>
                  <a:t>- BDAP</a:t>
                </a:r>
              </a:p>
            </p:txBody>
          </p:sp>
          <p:pic>
            <p:nvPicPr>
              <p:cNvPr id="65" name="Picture 2" descr="Soluciones e-commerce | Info[Optima]">
                <a:extLst>
                  <a:ext uri="{FF2B5EF4-FFF2-40B4-BE49-F238E27FC236}">
                    <a16:creationId xmlns:a16="http://schemas.microsoft.com/office/drawing/2014/main" id="{A12FFD69-08F6-42A0-B2BE-64A959EB160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48447" y="3633289"/>
                <a:ext cx="319680" cy="30767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7614AF71-8B25-40A6-85B0-E86484A1F2CB}"/>
                  </a:ext>
                </a:extLst>
              </p:cNvPr>
              <p:cNvSpPr txBox="1"/>
              <p:nvPr/>
            </p:nvSpPr>
            <p:spPr>
              <a:xfrm>
                <a:off x="4570837" y="4477931"/>
                <a:ext cx="2126190" cy="3724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it-IT"/>
                </a:defPPr>
                <a:lvl1pPr algn="ctr">
                  <a:defRPr sz="900" b="1">
                    <a:solidFill>
                      <a:srgbClr val="2E75B6"/>
                    </a:solidFill>
                  </a:defRPr>
                </a:lvl1pPr>
              </a:lstStyle>
              <a:p>
                <a:pPr defTabSz="609630">
                  <a:defRPr/>
                </a:pPr>
                <a:r>
                  <a:rPr lang="it-IT" sz="1400" kern="0" dirty="0">
                    <a:solidFill>
                      <a:srgbClr val="70AD47"/>
                    </a:solidFill>
                    <a:latin typeface="Graphik" panose="020B0503030202060203" pitchFamily="34" charset="0"/>
                  </a:rPr>
                  <a:t>ARACHNE</a:t>
                </a:r>
              </a:p>
            </p:txBody>
          </p:sp>
          <p:pic>
            <p:nvPicPr>
              <p:cNvPr id="67" name="Picture 2" descr="Soluciones e-commerce | Info[Optima]">
                <a:extLst>
                  <a:ext uri="{FF2B5EF4-FFF2-40B4-BE49-F238E27FC236}">
                    <a16:creationId xmlns:a16="http://schemas.microsoft.com/office/drawing/2014/main" id="{B7DAEF84-D0CD-408A-B18F-0C159B6C4AE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70AD47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48447" y="4493369"/>
                <a:ext cx="319680" cy="30767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939891E4-E61E-4FE3-8C1F-5B9878F47706}"/>
                  </a:ext>
                </a:extLst>
              </p:cNvPr>
              <p:cNvSpPr txBox="1"/>
              <p:nvPr/>
            </p:nvSpPr>
            <p:spPr>
              <a:xfrm>
                <a:off x="4633383" y="5092298"/>
                <a:ext cx="2001099" cy="8937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it-IT"/>
                </a:defPPr>
                <a:lvl1pPr algn="ctr">
                  <a:defRPr sz="900" b="1">
                    <a:solidFill>
                      <a:srgbClr val="2E75B6"/>
                    </a:solidFill>
                  </a:defRPr>
                </a:lvl1pPr>
              </a:lstStyle>
              <a:p>
                <a:pPr defTabSz="609630">
                  <a:defRPr/>
                </a:pPr>
                <a:r>
                  <a:rPr lang="it-IT" sz="1400" kern="0">
                    <a:solidFill>
                      <a:srgbClr val="FFC000"/>
                    </a:solidFill>
                    <a:latin typeface="Graphik" panose="020B0503030202060203" pitchFamily="34" charset="0"/>
                  </a:rPr>
                  <a:t>Banca Dati del Registro Nazionale degli Aiuti di Stato</a:t>
                </a:r>
              </a:p>
            </p:txBody>
          </p:sp>
          <p:pic>
            <p:nvPicPr>
              <p:cNvPr id="69" name="Picture 2" descr="Soluciones e-commerce | Info[Optima]">
                <a:extLst>
                  <a:ext uri="{FF2B5EF4-FFF2-40B4-BE49-F238E27FC236}">
                    <a16:creationId xmlns:a16="http://schemas.microsoft.com/office/drawing/2014/main" id="{7856B6C2-E9C4-49D8-9B04-D89C6518BBD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duotone>
                  <a:srgbClr val="FFC000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48447" y="5353958"/>
                <a:ext cx="319680" cy="30767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35" name="Picture 11">
              <a:extLst>
                <a:ext uri="{FF2B5EF4-FFF2-40B4-BE49-F238E27FC236}">
                  <a16:creationId xmlns:a16="http://schemas.microsoft.com/office/drawing/2014/main" id="{2928D8B1-31E0-4286-A403-C5F86FF6020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>
              <a:fillRect/>
            </a:stretch>
          </p:blipFill>
          <p:spPr>
            <a:xfrm rot="19897740" flipH="1">
              <a:off x="3729608" y="802446"/>
              <a:ext cx="789541" cy="559691"/>
            </a:xfrm>
            <a:prstGeom prst="rect">
              <a:avLst/>
            </a:prstGeom>
          </p:spPr>
        </p:pic>
        <p:sp>
          <p:nvSpPr>
            <p:cNvPr id="42" name="TextBox 12">
              <a:extLst>
                <a:ext uri="{FF2B5EF4-FFF2-40B4-BE49-F238E27FC236}">
                  <a16:creationId xmlns:a16="http://schemas.microsoft.com/office/drawing/2014/main" id="{FF8BB625-31C3-45F0-9D9F-11836566E69C}"/>
                </a:ext>
              </a:extLst>
            </p:cNvPr>
            <p:cNvSpPr txBox="1"/>
            <p:nvPr/>
          </p:nvSpPr>
          <p:spPr>
            <a:xfrm>
              <a:off x="4204814" y="993628"/>
              <a:ext cx="3235118" cy="738664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/>
              <a:r>
                <a:rPr lang="it-IT" sz="1600" b="1" dirty="0">
                  <a:solidFill>
                    <a:srgbClr val="D2A124"/>
                  </a:solidFill>
                  <a:latin typeface="Graphik" panose="020B0503030202060203" pitchFamily="34" charset="0"/>
                </a:rPr>
                <a:t>Interoperabilità </a:t>
              </a:r>
            </a:p>
            <a:p>
              <a:pPr algn="ctr"/>
              <a:r>
                <a:rPr lang="it-IT" sz="1600" b="1" dirty="0">
                  <a:solidFill>
                    <a:srgbClr val="D2A124"/>
                  </a:solidFill>
                  <a:latin typeface="Graphik" panose="020B0503030202060203" pitchFamily="34" charset="0"/>
                </a:rPr>
                <a:t>con altri sistemi e</a:t>
              </a:r>
            </a:p>
            <a:p>
              <a:pPr algn="ctr"/>
              <a:r>
                <a:rPr lang="it-IT" sz="1600" b="1" dirty="0">
                  <a:solidFill>
                    <a:srgbClr val="D2A124"/>
                  </a:solidFill>
                  <a:latin typeface="Graphik" panose="020B0503030202060203" pitchFamily="34" charset="0"/>
                </a:rPr>
                <a:t>banche dati</a:t>
              </a:r>
            </a:p>
          </p:txBody>
        </p:sp>
      </p:grpSp>
      <p:sp>
        <p:nvSpPr>
          <p:cNvPr id="47" name="AutoShape 2">
            <a:extLst>
              <a:ext uri="{FF2B5EF4-FFF2-40B4-BE49-F238E27FC236}">
                <a16:creationId xmlns:a16="http://schemas.microsoft.com/office/drawing/2014/main" id="{0B15C5F1-C938-4133-AE2E-CF708F0EC985}"/>
              </a:ext>
            </a:extLst>
          </p:cNvPr>
          <p:cNvSpPr/>
          <p:nvPr/>
        </p:nvSpPr>
        <p:spPr>
          <a:xfrm>
            <a:off x="0" y="2"/>
            <a:ext cx="12192000" cy="1336632"/>
          </a:xfrm>
          <a:prstGeom prst="rect">
            <a:avLst/>
          </a:prstGeom>
          <a:solidFill>
            <a:srgbClr val="1D3880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TextBox 16">
            <a:extLst>
              <a:ext uri="{FF2B5EF4-FFF2-40B4-BE49-F238E27FC236}">
                <a16:creationId xmlns:a16="http://schemas.microsoft.com/office/drawing/2014/main" id="{A1D313CA-43C4-4108-BAD3-17D285293D63}"/>
              </a:ext>
            </a:extLst>
          </p:cNvPr>
          <p:cNvSpPr txBox="1"/>
          <p:nvPr/>
        </p:nvSpPr>
        <p:spPr>
          <a:xfrm>
            <a:off x="607348" y="914615"/>
            <a:ext cx="9800373" cy="2373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spc="12" dirty="0">
                <a:solidFill>
                  <a:srgbClr val="FFFFFF"/>
                </a:solidFill>
                <a:latin typeface="Graphik Black" panose="020B0A03030202060203" pitchFamily="34" charset="0"/>
              </a:rPr>
              <a:t>IL SISTEMA REGIS</a:t>
            </a:r>
            <a:endParaRPr kumimoji="0" lang="en-US" sz="3200" b="1" i="0" u="none" strike="noStrike" kern="1200" cap="none" spc="12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lack" panose="020B0A03030202060203" pitchFamily="34" charset="0"/>
            </a:endParaRPr>
          </a:p>
        </p:txBody>
      </p:sp>
      <p:pic>
        <p:nvPicPr>
          <p:cNvPr id="50" name="Picture 49" descr="Logo&#10;&#10;Description automatically generated">
            <a:extLst>
              <a:ext uri="{FF2B5EF4-FFF2-40B4-BE49-F238E27FC236}">
                <a16:creationId xmlns:a16="http://schemas.microsoft.com/office/drawing/2014/main" id="{30B6BE58-6CA6-4834-9701-1F92337A105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671803" y="6406830"/>
            <a:ext cx="351082" cy="294908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0" y="1087553"/>
            <a:ext cx="12198915" cy="5787079"/>
          </a:xfrm>
          <a:prstGeom prst="rect">
            <a:avLst/>
          </a:prstGeom>
          <a:solidFill>
            <a:srgbClr val="1D3880"/>
          </a:solidFill>
        </p:spPr>
      </p:sp>
      <p:sp>
        <p:nvSpPr>
          <p:cNvPr id="16" name="TextBox 16"/>
          <p:cNvSpPr txBox="1"/>
          <p:nvPr/>
        </p:nvSpPr>
        <p:spPr>
          <a:xfrm>
            <a:off x="479429" y="631451"/>
            <a:ext cx="6284774" cy="2373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2" normalizeH="0" baseline="0" noProof="0" dirty="0">
                <a:ln>
                  <a:noFill/>
                </a:ln>
                <a:solidFill>
                  <a:srgbClr val="273D66"/>
                </a:solidFill>
                <a:effectLst/>
                <a:uLnTx/>
                <a:uFillTx/>
                <a:latin typeface="Graphik" panose="020B0503030202060203" pitchFamily="34" charset="0"/>
              </a:rPr>
              <a:t>PORTALE </a:t>
            </a:r>
            <a:r>
              <a:rPr kumimoji="0" lang="en-US" sz="3200" b="1" i="1" u="none" strike="noStrike" kern="1200" cap="none" spc="12" normalizeH="0" baseline="0" noProof="0" dirty="0">
                <a:ln>
                  <a:noFill/>
                </a:ln>
                <a:solidFill>
                  <a:srgbClr val="273D66"/>
                </a:solidFill>
                <a:effectLst/>
                <a:uLnTx/>
                <a:uFillTx/>
                <a:latin typeface="Graphik" panose="020B0503030202060203" pitchFamily="34" charset="0"/>
              </a:rPr>
              <a:t>ITALIA DOMANI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1257F46-0E03-4C99-88A2-D420BB3B762E}"/>
              </a:ext>
            </a:extLst>
          </p:cNvPr>
          <p:cNvGrpSpPr/>
          <p:nvPr/>
        </p:nvGrpSpPr>
        <p:grpSpPr>
          <a:xfrm>
            <a:off x="387636" y="2491498"/>
            <a:ext cx="3784588" cy="3278919"/>
            <a:chOff x="6612467" y="1083742"/>
            <a:chExt cx="4128391" cy="322217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1C1CAEA-EFED-4ADC-9D03-D6C06759B2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612467" y="1083742"/>
              <a:ext cx="4128391" cy="1777137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DBA82A72-03B3-474B-B29A-A556855A480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12467" y="2573098"/>
              <a:ext cx="4128391" cy="1732823"/>
            </a:xfrm>
            <a:prstGeom prst="rect">
              <a:avLst/>
            </a:prstGeom>
          </p:spPr>
        </p:pic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50D80E59-C128-4B4A-804E-5D3C204E6D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90190" y="3644163"/>
            <a:ext cx="3029689" cy="2821619"/>
          </a:xfrm>
          <a:prstGeom prst="rect">
            <a:avLst/>
          </a:prstGeom>
        </p:spPr>
      </p:pic>
      <p:sp>
        <p:nvSpPr>
          <p:cNvPr id="50" name="Titolo 1">
            <a:extLst>
              <a:ext uri="{FF2B5EF4-FFF2-40B4-BE49-F238E27FC236}">
                <a16:creationId xmlns:a16="http://schemas.microsoft.com/office/drawing/2014/main" id="{A0DC6B6E-1765-4D38-B657-B5AC15D5D956}"/>
              </a:ext>
            </a:extLst>
          </p:cNvPr>
          <p:cNvSpPr txBox="1">
            <a:spLocks/>
          </p:cNvSpPr>
          <p:nvPr/>
        </p:nvSpPr>
        <p:spPr>
          <a:xfrm>
            <a:off x="710730" y="1326307"/>
            <a:ext cx="5130229" cy="92801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it-IT"/>
            </a:defPPr>
            <a:lvl1pPr>
              <a:lnSpc>
                <a:spcPct val="150000"/>
              </a:lnSpc>
              <a:spcBef>
                <a:spcPct val="0"/>
              </a:spcBef>
              <a:defRPr sz="1400" spc="15">
                <a:solidFill>
                  <a:schemeClr val="accent3"/>
                </a:solidFill>
                <a:latin typeface="Rubik Medium"/>
              </a:defRPr>
            </a:lvl1pPr>
            <a:lvl2pPr marL="3175" lvl="1" indent="0" algn="just" fontAlgn="ctr">
              <a:lnSpc>
                <a:spcPct val="100000"/>
              </a:lnSpc>
              <a:spcBef>
                <a:spcPts val="35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400" b="1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La </a:t>
            </a:r>
            <a:r>
              <a:rPr kumimoji="0" lang="it-IT" sz="1400" b="1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comunicazione</a:t>
            </a:r>
            <a:r>
              <a:rPr kumimoji="0" lang="it-IT" sz="14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 del Piano Nazionale di Ripresa e Resilienza rappresenta un </a:t>
            </a:r>
            <a:r>
              <a:rPr kumimoji="0" lang="it-IT" sz="1400" b="1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fattore determinante per il suo successo</a:t>
            </a:r>
            <a:r>
              <a:rPr kumimoji="0" lang="it-IT" sz="14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.</a:t>
            </a:r>
          </a:p>
        </p:txBody>
      </p:sp>
      <p:sp>
        <p:nvSpPr>
          <p:cNvPr id="53" name="Titolo 1">
            <a:extLst>
              <a:ext uri="{FF2B5EF4-FFF2-40B4-BE49-F238E27FC236}">
                <a16:creationId xmlns:a16="http://schemas.microsoft.com/office/drawing/2014/main" id="{147386B5-240D-4B85-B063-435CDCE61604}"/>
              </a:ext>
            </a:extLst>
          </p:cNvPr>
          <p:cNvSpPr txBox="1">
            <a:spLocks/>
          </p:cNvSpPr>
          <p:nvPr/>
        </p:nvSpPr>
        <p:spPr>
          <a:xfrm>
            <a:off x="5969421" y="4323335"/>
            <a:ext cx="5383524" cy="19034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it-IT"/>
            </a:defPPr>
            <a:lvl1pPr>
              <a:lnSpc>
                <a:spcPct val="150000"/>
              </a:lnSpc>
              <a:spcBef>
                <a:spcPct val="0"/>
              </a:spcBef>
              <a:defRPr sz="1400" spc="15">
                <a:solidFill>
                  <a:schemeClr val="accent3"/>
                </a:solidFill>
                <a:latin typeface="Rubik Medium"/>
              </a:defRPr>
            </a:lvl1pPr>
            <a:lvl2pPr marL="3175" lvl="1" indent="0" algn="just" fontAlgn="ctr">
              <a:lnSpc>
                <a:spcPct val="100000"/>
              </a:lnSpc>
              <a:spcBef>
                <a:spcPts val="35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400" b="1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Il portale è strutturato in </a:t>
            </a:r>
            <a:r>
              <a:rPr kumimoji="0" lang="it-IT" sz="1200" b="1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diverse sezioni</a:t>
            </a:r>
            <a:r>
              <a:rPr kumimoji="0" lang="it-IT" sz="12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, come: 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0" u="none" strike="noStrike" kern="1200" cap="none" spc="15" normalizeH="0" baseline="0" noProof="0" dirty="0">
                <a:ln>
                  <a:noFill/>
                </a:ln>
                <a:solidFill>
                  <a:srgbClr val="F8C94D"/>
                </a:solidFill>
                <a:effectLst/>
                <a:uLnTx/>
                <a:uFillTx/>
                <a:latin typeface="Graphik" panose="020B0503030202060203" pitchFamily="34" charset="0"/>
              </a:rPr>
              <a:t>Descrizione e stato di avanzamento </a:t>
            </a:r>
            <a:r>
              <a:rPr kumimoji="0" lang="it-IT" sz="1200" b="1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degli investimenti e delle riforme</a:t>
            </a:r>
            <a:r>
              <a:rPr kumimoji="0" lang="it-IT" sz="12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;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0" u="none" strike="noStrike" kern="1200" cap="none" spc="15" normalizeH="0" baseline="0" noProof="0" dirty="0">
                <a:ln>
                  <a:noFill/>
                </a:ln>
                <a:solidFill>
                  <a:srgbClr val="F8C94D"/>
                </a:solidFill>
                <a:effectLst/>
                <a:uLnTx/>
                <a:uFillTx/>
                <a:latin typeface="Graphik" panose="020B0503030202060203" pitchFamily="34" charset="0"/>
              </a:rPr>
              <a:t>Bandi e avvisi emanati e link </a:t>
            </a:r>
            <a:r>
              <a:rPr kumimoji="0" lang="it-IT" sz="12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al quale candidarsi;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Informazioni sul </a:t>
            </a:r>
            <a:r>
              <a:rPr kumimoji="0" lang="it-IT" sz="1200" b="1" i="0" u="none" strike="noStrike" kern="1200" cap="none" spc="15" normalizeH="0" baseline="0" noProof="0" dirty="0">
                <a:ln>
                  <a:noFill/>
                </a:ln>
                <a:solidFill>
                  <a:srgbClr val="F8C94D"/>
                </a:solidFill>
                <a:effectLst/>
                <a:uLnTx/>
                <a:uFillTx/>
                <a:latin typeface="Graphik" panose="020B0503030202060203" pitchFamily="34" charset="0"/>
              </a:rPr>
              <a:t>Fondo Nazionale Complementare</a:t>
            </a:r>
            <a:r>
              <a:rPr kumimoji="0" lang="it-IT" sz="12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;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0" u="none" strike="noStrike" kern="1200" cap="none" spc="15" normalizeH="0" baseline="0" noProof="0" dirty="0">
                <a:ln>
                  <a:noFill/>
                </a:ln>
                <a:solidFill>
                  <a:srgbClr val="F8C94D"/>
                </a:solidFill>
                <a:effectLst/>
                <a:uLnTx/>
                <a:uFillTx/>
                <a:latin typeface="Graphik" panose="020B0503030202060203" pitchFamily="34" charset="0"/>
              </a:rPr>
              <a:t>Documentazione utile </a:t>
            </a:r>
            <a:r>
              <a:rPr kumimoji="0" lang="it-IT" sz="12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(es. CID, Guida DNSH, Basi legali del PNR...);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1" u="none" strike="noStrike" kern="1200" cap="none" spc="15" normalizeH="0" baseline="0" noProof="0" dirty="0">
                <a:ln>
                  <a:noFill/>
                </a:ln>
                <a:solidFill>
                  <a:srgbClr val="F8C94D"/>
                </a:solidFill>
                <a:effectLst/>
                <a:uLnTx/>
                <a:uFillTx/>
                <a:latin typeface="Graphik" panose="020B0503030202060203" pitchFamily="34" charset="0"/>
              </a:rPr>
              <a:t>News</a:t>
            </a:r>
            <a:r>
              <a:rPr kumimoji="0" lang="it-IT" sz="12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 costantemente aggiornate.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68C9812B-C36E-4486-8B7B-CDF48E42973B}"/>
              </a:ext>
            </a:extLst>
          </p:cNvPr>
          <p:cNvGrpSpPr/>
          <p:nvPr/>
        </p:nvGrpSpPr>
        <p:grpSpPr>
          <a:xfrm>
            <a:off x="8131149" y="1299804"/>
            <a:ext cx="3406976" cy="2786986"/>
            <a:chOff x="6195729" y="2600473"/>
            <a:chExt cx="3406976" cy="2786986"/>
          </a:xfrm>
        </p:grpSpPr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CAAE0E4F-652B-45AD-B0EE-D40A5101792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195730" y="2600473"/>
              <a:ext cx="3406975" cy="1621442"/>
            </a:xfrm>
            <a:prstGeom prst="rect">
              <a:avLst/>
            </a:prstGeom>
          </p:spPr>
        </p:pic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D0F8FD76-00B9-450B-8260-D476B8E68D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195729" y="3056370"/>
              <a:ext cx="3406975" cy="2331089"/>
            </a:xfrm>
            <a:prstGeom prst="rect">
              <a:avLst/>
            </a:prstGeom>
          </p:spPr>
        </p:pic>
      </p:grpSp>
      <p:pic>
        <p:nvPicPr>
          <p:cNvPr id="57" name="Picture 56">
            <a:extLst>
              <a:ext uri="{FF2B5EF4-FFF2-40B4-BE49-F238E27FC236}">
                <a16:creationId xmlns:a16="http://schemas.microsoft.com/office/drawing/2014/main" id="{DE433591-C66D-4CB7-B0F9-5ABCAB113D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69420" y="2287634"/>
            <a:ext cx="4318358" cy="1488303"/>
          </a:xfrm>
          <a:prstGeom prst="rect">
            <a:avLst/>
          </a:prstGeom>
        </p:spPr>
      </p:pic>
      <p:pic>
        <p:nvPicPr>
          <p:cNvPr id="58" name="Immagine 37">
            <a:extLst>
              <a:ext uri="{FF2B5EF4-FFF2-40B4-BE49-F238E27FC236}">
                <a16:creationId xmlns:a16="http://schemas.microsoft.com/office/drawing/2014/main" id="{E521CC38-8908-4A8D-9E02-287A021BE4A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49" t="30501" r="9436" b="35012"/>
          <a:stretch/>
        </p:blipFill>
        <p:spPr>
          <a:xfrm>
            <a:off x="10083369" y="258762"/>
            <a:ext cx="1750465" cy="548518"/>
          </a:xfrm>
          <a:prstGeom prst="rect">
            <a:avLst/>
          </a:prstGeom>
        </p:spPr>
      </p:pic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FE175D93-CC95-486A-A2B2-CA8064FC4A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671803" y="6406830"/>
            <a:ext cx="351082" cy="29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6397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AutoShape 2">
            <a:extLst>
              <a:ext uri="{FF2B5EF4-FFF2-40B4-BE49-F238E27FC236}">
                <a16:creationId xmlns:a16="http://schemas.microsoft.com/office/drawing/2014/main" id="{5D3142C5-E325-413B-8ED4-A72A03ECE126}"/>
              </a:ext>
            </a:extLst>
          </p:cNvPr>
          <p:cNvSpPr/>
          <p:nvPr/>
        </p:nvSpPr>
        <p:spPr>
          <a:xfrm>
            <a:off x="6092908" y="-1844"/>
            <a:ext cx="6096000" cy="6882457"/>
          </a:xfrm>
          <a:prstGeom prst="rect">
            <a:avLst/>
          </a:prstGeom>
          <a:solidFill>
            <a:srgbClr val="1D3880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BF09E17F-979B-4704-8D2F-A90F860EDC2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6" t="14889" r="50354" b="683"/>
          <a:stretch/>
        </p:blipFill>
        <p:spPr>
          <a:xfrm>
            <a:off x="6092908" y="1597"/>
            <a:ext cx="6096000" cy="6875575"/>
          </a:xfrm>
          <a:prstGeom prst="rect">
            <a:avLst/>
          </a:prstGeom>
        </p:spPr>
      </p:pic>
      <p:sp>
        <p:nvSpPr>
          <p:cNvPr id="137" name="TextBox 16">
            <a:extLst>
              <a:ext uri="{FF2B5EF4-FFF2-40B4-BE49-F238E27FC236}">
                <a16:creationId xmlns:a16="http://schemas.microsoft.com/office/drawing/2014/main" id="{C0127670-E626-445F-930E-9E44C37BE878}"/>
              </a:ext>
            </a:extLst>
          </p:cNvPr>
          <p:cNvSpPr txBox="1"/>
          <p:nvPr/>
        </p:nvSpPr>
        <p:spPr>
          <a:xfrm>
            <a:off x="607349" y="914614"/>
            <a:ext cx="11541336" cy="2373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2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 Black" panose="020B0A03030202060203" pitchFamily="34" charset="0"/>
              </a:rPr>
              <a:t>IL NUOVO SCENARIO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9FD2B28-D056-4D07-83E9-9B29BDB56A2D}"/>
              </a:ext>
            </a:extLst>
          </p:cNvPr>
          <p:cNvGrpSpPr/>
          <p:nvPr/>
        </p:nvGrpSpPr>
        <p:grpSpPr>
          <a:xfrm>
            <a:off x="6296694" y="779700"/>
            <a:ext cx="3502594" cy="567772"/>
            <a:chOff x="6195094" y="779700"/>
            <a:chExt cx="3502594" cy="567772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69403B53-1140-43DF-9B77-0FFACCD65C9B}"/>
                </a:ext>
              </a:extLst>
            </p:cNvPr>
            <p:cNvSpPr txBox="1"/>
            <p:nvPr/>
          </p:nvSpPr>
          <p:spPr>
            <a:xfrm>
              <a:off x="6799042" y="838140"/>
              <a:ext cx="2898646" cy="45089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it-IT" b="1" dirty="0">
                  <a:solidFill>
                    <a:schemeClr val="bg1"/>
                  </a:solidFill>
                  <a:latin typeface="Graphik" panose="020B0503030202060203" pitchFamily="34" charset="0"/>
                  <a:cs typeface="Arial" panose="020B0604020202020204" pitchFamily="34" charset="0"/>
                </a:rPr>
                <a:t>Riforme strutturali</a:t>
              </a:r>
              <a:endParaRPr kumimoji="0" lang="it-IT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5" name="Graphic 74" descr="Gavel outline">
              <a:extLst>
                <a:ext uri="{FF2B5EF4-FFF2-40B4-BE49-F238E27FC236}">
                  <a16:creationId xmlns:a16="http://schemas.microsoft.com/office/drawing/2014/main" id="{878F2E32-3D33-4477-AB42-C26F4CBA9A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195094" y="779700"/>
              <a:ext cx="567772" cy="567772"/>
            </a:xfrm>
            <a:prstGeom prst="rect">
              <a:avLst/>
            </a:prstGeom>
          </p:spPr>
        </p:pic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B4B8D5E7-85BF-481D-9E13-46F58DDA0B54}"/>
              </a:ext>
            </a:extLst>
          </p:cNvPr>
          <p:cNvGrpSpPr/>
          <p:nvPr/>
        </p:nvGrpSpPr>
        <p:grpSpPr>
          <a:xfrm>
            <a:off x="6379336" y="3045059"/>
            <a:ext cx="3419952" cy="866391"/>
            <a:chOff x="6277736" y="3045059"/>
            <a:chExt cx="3419952" cy="866391"/>
          </a:xfrm>
        </p:grpSpPr>
        <p:pic>
          <p:nvPicPr>
            <p:cNvPr id="77" name="Graphic 76" descr="Money outline">
              <a:extLst>
                <a:ext uri="{FF2B5EF4-FFF2-40B4-BE49-F238E27FC236}">
                  <a16:creationId xmlns:a16="http://schemas.microsoft.com/office/drawing/2014/main" id="{A93B65A2-F1DB-4D34-B2AC-602570D043C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277736" y="3180849"/>
              <a:ext cx="594811" cy="594811"/>
            </a:xfrm>
            <a:prstGeom prst="rect">
              <a:avLst/>
            </a:prstGeom>
          </p:spPr>
        </p:pic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84564E8A-7381-4B01-83A7-D06DF278E1C3}"/>
                </a:ext>
              </a:extLst>
            </p:cNvPr>
            <p:cNvSpPr txBox="1"/>
            <p:nvPr/>
          </p:nvSpPr>
          <p:spPr>
            <a:xfrm>
              <a:off x="7040263" y="3045059"/>
              <a:ext cx="2657425" cy="8663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it-IT" b="1" dirty="0">
                  <a:solidFill>
                    <a:schemeClr val="bg1"/>
                  </a:solidFill>
                  <a:latin typeface="Graphik" panose="020B0503030202060203" pitchFamily="34" charset="0"/>
                  <a:cs typeface="Arial" panose="020B0604020202020204" pitchFamily="34" charset="0"/>
                </a:rPr>
                <a:t>N</a:t>
              </a:r>
              <a:r>
                <a:rPr kumimoji="0" lang="it-IT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raphik" panose="020B0503030202060203" pitchFamily="34" charset="0"/>
                  <a:cs typeface="Arial" panose="020B0604020202020204" pitchFamily="34" charset="0"/>
                </a:rPr>
                <a:t>uovo contributo a fondo perduto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1A281BE8-E80C-49D3-9ED7-0720D14491AC}"/>
              </a:ext>
            </a:extLst>
          </p:cNvPr>
          <p:cNvGrpSpPr/>
          <p:nvPr/>
        </p:nvGrpSpPr>
        <p:grpSpPr>
          <a:xfrm>
            <a:off x="8479685" y="1829797"/>
            <a:ext cx="3848923" cy="866391"/>
            <a:chOff x="8378085" y="1436097"/>
            <a:chExt cx="3848923" cy="866391"/>
          </a:xfrm>
        </p:grpSpPr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B751908C-EFA2-4F67-BFCE-9A29F40DD57C}"/>
                </a:ext>
              </a:extLst>
            </p:cNvPr>
            <p:cNvSpPr txBox="1"/>
            <p:nvPr/>
          </p:nvSpPr>
          <p:spPr>
            <a:xfrm>
              <a:off x="9027021" y="1436097"/>
              <a:ext cx="3199987" cy="8663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it-IT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raphik" panose="020B0503030202060203" pitchFamily="34" charset="0"/>
                  <a:cs typeface="Arial" panose="020B0604020202020204" pitchFamily="34" charset="0"/>
                </a:rPr>
                <a:t>Crediti d’imposta sulle bollette di luce e gas</a:t>
              </a:r>
            </a:p>
          </p:txBody>
        </p:sp>
        <p:pic>
          <p:nvPicPr>
            <p:cNvPr id="81" name="Graphic 80" descr="Renewable Energy outline">
              <a:extLst>
                <a:ext uri="{FF2B5EF4-FFF2-40B4-BE49-F238E27FC236}">
                  <a16:creationId xmlns:a16="http://schemas.microsoft.com/office/drawing/2014/main" id="{9CED817A-232B-4614-8D72-D999AFDA464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378085" y="1557018"/>
              <a:ext cx="624548" cy="624548"/>
            </a:xfrm>
            <a:prstGeom prst="rect">
              <a:avLst/>
            </a:prstGeom>
          </p:spPr>
        </p:pic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8B827071-599B-4A4B-A18D-3898AE511291}"/>
              </a:ext>
            </a:extLst>
          </p:cNvPr>
          <p:cNvGrpSpPr/>
          <p:nvPr/>
        </p:nvGrpSpPr>
        <p:grpSpPr>
          <a:xfrm>
            <a:off x="6633232" y="5628468"/>
            <a:ext cx="4176936" cy="866391"/>
            <a:chOff x="6531632" y="5628468"/>
            <a:chExt cx="4176936" cy="866391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C8C249EE-72BC-4794-9DF0-F35D5A25BC1A}"/>
                </a:ext>
              </a:extLst>
            </p:cNvPr>
            <p:cNvSpPr txBox="1"/>
            <p:nvPr/>
          </p:nvSpPr>
          <p:spPr>
            <a:xfrm>
              <a:off x="7345473" y="5628468"/>
              <a:ext cx="3363095" cy="8663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it-IT" b="1" dirty="0">
                  <a:solidFill>
                    <a:schemeClr val="bg1"/>
                  </a:solidFill>
                  <a:latin typeface="Graphik" panose="020B0503030202060203" pitchFamily="34" charset="0"/>
                  <a:cs typeface="Arial" panose="020B0604020202020204" pitchFamily="34" charset="0"/>
                </a:rPr>
                <a:t>C</a:t>
              </a:r>
              <a:r>
                <a:rPr kumimoji="0" lang="it-IT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raphik" panose="020B0503030202060203" pitchFamily="34" charset="0"/>
                  <a:cs typeface="Arial" panose="020B0604020202020204" pitchFamily="34" charset="0"/>
                </a:rPr>
                <a:t>rediti d’imposta sugli investimenti in beni 4.0</a:t>
              </a:r>
            </a:p>
          </p:txBody>
        </p:sp>
        <p:pic>
          <p:nvPicPr>
            <p:cNvPr id="84" name="Graphic 83" descr="Bar graph with downward trend outline">
              <a:extLst>
                <a:ext uri="{FF2B5EF4-FFF2-40B4-BE49-F238E27FC236}">
                  <a16:creationId xmlns:a16="http://schemas.microsoft.com/office/drawing/2014/main" id="{11E9A126-1C15-4A6B-B232-BDF5AEE522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531632" y="5739156"/>
              <a:ext cx="755703" cy="755703"/>
            </a:xfrm>
            <a:prstGeom prst="rect">
              <a:avLst/>
            </a:prstGeom>
          </p:spPr>
        </p:pic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3AFCCDA-4F64-4348-BAA5-55FE962869C4}"/>
              </a:ext>
            </a:extLst>
          </p:cNvPr>
          <p:cNvGrpSpPr/>
          <p:nvPr/>
        </p:nvGrpSpPr>
        <p:grpSpPr>
          <a:xfrm>
            <a:off x="8589975" y="4263413"/>
            <a:ext cx="3587962" cy="866391"/>
            <a:chOff x="8488375" y="4301513"/>
            <a:chExt cx="3587962" cy="866391"/>
          </a:xfrm>
        </p:grpSpPr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C4A85FCE-D9EC-473D-ACAB-AC4D73A86B03}"/>
                </a:ext>
              </a:extLst>
            </p:cNvPr>
            <p:cNvSpPr txBox="1"/>
            <p:nvPr/>
          </p:nvSpPr>
          <p:spPr>
            <a:xfrm>
              <a:off x="9177690" y="4301513"/>
              <a:ext cx="2898647" cy="8663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R="0" lvl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it-IT" b="1" dirty="0">
                  <a:solidFill>
                    <a:schemeClr val="bg1"/>
                  </a:solidFill>
                  <a:latin typeface="Graphik" panose="020B0503030202060203" pitchFamily="34" charset="0"/>
                  <a:cs typeface="Arial" panose="020B0604020202020204" pitchFamily="34" charset="0"/>
                </a:rPr>
                <a:t>C</a:t>
              </a:r>
              <a:r>
                <a:rPr kumimoji="0" lang="it-IT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Graphik" panose="020B0503030202060203" pitchFamily="34" charset="0"/>
                  <a:cs typeface="Arial" panose="020B0604020202020204" pitchFamily="34" charset="0"/>
                </a:rPr>
                <a:t>rediti d’imposta sul bonus formazione 4.0</a:t>
              </a:r>
            </a:p>
          </p:txBody>
        </p:sp>
        <p:pic>
          <p:nvPicPr>
            <p:cNvPr id="87" name="Graphic 86" descr="Books outline">
              <a:extLst>
                <a:ext uri="{FF2B5EF4-FFF2-40B4-BE49-F238E27FC236}">
                  <a16:creationId xmlns:a16="http://schemas.microsoft.com/office/drawing/2014/main" id="{7B21E15B-FFF5-4564-A2E7-EF0505492C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488375" y="4422434"/>
              <a:ext cx="624548" cy="624548"/>
            </a:xfrm>
            <a:prstGeom prst="rect">
              <a:avLst/>
            </a:prstGeom>
          </p:spPr>
        </p:pic>
      </p:grpSp>
      <p:sp>
        <p:nvSpPr>
          <p:cNvPr id="88" name="TextBox 16">
            <a:extLst>
              <a:ext uri="{FF2B5EF4-FFF2-40B4-BE49-F238E27FC236}">
                <a16:creationId xmlns:a16="http://schemas.microsoft.com/office/drawing/2014/main" id="{AB78C67A-3ADE-47CE-AB55-DB9D5CED8298}"/>
              </a:ext>
            </a:extLst>
          </p:cNvPr>
          <p:cNvSpPr txBox="1"/>
          <p:nvPr/>
        </p:nvSpPr>
        <p:spPr>
          <a:xfrm>
            <a:off x="607349" y="914614"/>
            <a:ext cx="11541336" cy="2373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2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raphik Black" panose="020B0A03030202060203" pitchFamily="34" charset="0"/>
              </a:rPr>
              <a:t>IL NUOVO SCENARIO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6A460A98-9BE4-4E76-B8F9-C95FAEF1EC48}"/>
              </a:ext>
            </a:extLst>
          </p:cNvPr>
          <p:cNvSpPr/>
          <p:nvPr/>
        </p:nvSpPr>
        <p:spPr>
          <a:xfrm>
            <a:off x="607349" y="1157004"/>
            <a:ext cx="4072475" cy="45719"/>
          </a:xfrm>
          <a:prstGeom prst="rect">
            <a:avLst/>
          </a:prstGeom>
          <a:solidFill>
            <a:srgbClr val="476D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48AE8B07-A1D7-405E-9B18-11DFB3D3406C}"/>
              </a:ext>
            </a:extLst>
          </p:cNvPr>
          <p:cNvGrpSpPr/>
          <p:nvPr/>
        </p:nvGrpSpPr>
        <p:grpSpPr>
          <a:xfrm>
            <a:off x="1007194" y="1497937"/>
            <a:ext cx="4072475" cy="1685393"/>
            <a:chOff x="604521" y="1872323"/>
            <a:chExt cx="3365682" cy="1266260"/>
          </a:xfrm>
        </p:grpSpPr>
        <p:pic>
          <p:nvPicPr>
            <p:cNvPr id="106" name="Picture 2" descr="Free Hands With Latex Gloves Holding a Globe with a Face Mask Stock Photo">
              <a:extLst>
                <a:ext uri="{FF2B5EF4-FFF2-40B4-BE49-F238E27FC236}">
                  <a16:creationId xmlns:a16="http://schemas.microsoft.com/office/drawing/2014/main" id="{6DDE8CF1-9C73-490A-9767-8EDED9AFC48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alphaModFix amt="43000"/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sharpenSoften amount="-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5118" b="32133"/>
            <a:stretch/>
          </p:blipFill>
          <p:spPr bwMode="auto">
            <a:xfrm>
              <a:off x="711787" y="1932242"/>
              <a:ext cx="3189654" cy="11261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3F588722-1680-43DD-958B-C69949F2A8C6}"/>
                </a:ext>
              </a:extLst>
            </p:cNvPr>
            <p:cNvSpPr/>
            <p:nvPr/>
          </p:nvSpPr>
          <p:spPr>
            <a:xfrm>
              <a:off x="604521" y="1872323"/>
              <a:ext cx="3365682" cy="1266260"/>
            </a:xfrm>
            <a:prstGeom prst="roundRect">
              <a:avLst/>
            </a:prstGeom>
            <a:solidFill>
              <a:srgbClr val="EFF7FF">
                <a:alpha val="30196"/>
              </a:srgbClr>
            </a:solidFill>
            <a:ln>
              <a:solidFill>
                <a:srgbClr val="000000">
                  <a:alpha val="18824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108" name="CasellaDiTesto 24">
              <a:extLst>
                <a:ext uri="{FF2B5EF4-FFF2-40B4-BE49-F238E27FC236}">
                  <a16:creationId xmlns:a16="http://schemas.microsoft.com/office/drawing/2014/main" id="{6C8113DF-F9DF-4BCF-85C9-C996791B78CE}"/>
                </a:ext>
              </a:extLst>
            </p:cNvPr>
            <p:cNvSpPr txBox="1"/>
            <p:nvPr/>
          </p:nvSpPr>
          <p:spPr>
            <a:xfrm>
              <a:off x="892270" y="2309213"/>
              <a:ext cx="2790184" cy="2774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it-IT"/>
              </a:defPPr>
              <a:lvl1pPr marR="0" lvl="0" algn="ctr" fontAlgn="auto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tabLst/>
                <a:defRPr sz="2000" b="1">
                  <a:ln w="13462">
                    <a:solidFill>
                      <a:schemeClr val="bg1"/>
                    </a:solidFill>
                    <a:prstDash val="solid"/>
                  </a:ln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dist="38100" dir="2700000" algn="bl" rotWithShape="0">
                      <a:schemeClr val="accent5"/>
                    </a:outerShdw>
                  </a:effectLst>
                  <a:latin typeface="Calibri" panose="020F0502020204030204"/>
                </a:defRPr>
              </a:lvl1pPr>
            </a:lstStyle>
            <a:p>
              <a:r>
                <a:rPr lang="en-US" sz="1800" dirty="0">
                  <a:ln w="0"/>
                  <a:solidFill>
                    <a:srgbClr val="1D388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Graphik" panose="020B0503030202060203" pitchFamily="34" charset="0"/>
                </a:rPr>
                <a:t>CRISI PANDEMICA</a:t>
              </a: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8C0BCFF2-7A73-4365-85B8-208EBAD2EA11}"/>
              </a:ext>
            </a:extLst>
          </p:cNvPr>
          <p:cNvGrpSpPr/>
          <p:nvPr/>
        </p:nvGrpSpPr>
        <p:grpSpPr>
          <a:xfrm>
            <a:off x="999185" y="3293904"/>
            <a:ext cx="4080484" cy="1532175"/>
            <a:chOff x="4981501" y="1769576"/>
            <a:chExt cx="3454685" cy="1392886"/>
          </a:xfrm>
        </p:grpSpPr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E946CD4F-064C-40DD-9A18-1CC3374AA4F4}"/>
                </a:ext>
              </a:extLst>
            </p:cNvPr>
            <p:cNvGrpSpPr/>
            <p:nvPr/>
          </p:nvGrpSpPr>
          <p:grpSpPr>
            <a:xfrm>
              <a:off x="4981501" y="1769576"/>
              <a:ext cx="3447905" cy="1392886"/>
              <a:chOff x="4981501" y="1769576"/>
              <a:chExt cx="3447905" cy="1392886"/>
            </a:xfrm>
          </p:grpSpPr>
          <p:pic>
            <p:nvPicPr>
              <p:cNvPr id="112" name="Picture 6" descr="Free Close-up Photo of Monitor Stock Photo">
                <a:extLst>
                  <a:ext uri="{FF2B5EF4-FFF2-40B4-BE49-F238E27FC236}">
                    <a16:creationId xmlns:a16="http://schemas.microsoft.com/office/drawing/2014/main" id="{41E7D803-6B98-4075-9632-72C26ADFDE6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6">
                <a:alphaModFix amt="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0859" r="27574" b="37056"/>
              <a:stretch/>
            </p:blipFill>
            <p:spPr bwMode="auto">
              <a:xfrm>
                <a:off x="5126375" y="1801139"/>
                <a:ext cx="3239370" cy="13464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3" name="Rectangle: Rounded Corners 112">
                <a:extLst>
                  <a:ext uri="{FF2B5EF4-FFF2-40B4-BE49-F238E27FC236}">
                    <a16:creationId xmlns:a16="http://schemas.microsoft.com/office/drawing/2014/main" id="{B6D7BECE-10C8-4567-92D9-4606FEC08B66}"/>
                  </a:ext>
                </a:extLst>
              </p:cNvPr>
              <p:cNvSpPr/>
              <p:nvPr/>
            </p:nvSpPr>
            <p:spPr>
              <a:xfrm>
                <a:off x="4981501" y="1769576"/>
                <a:ext cx="3447905" cy="1392886"/>
              </a:xfrm>
              <a:prstGeom prst="roundRect">
                <a:avLst/>
              </a:prstGeom>
              <a:solidFill>
                <a:srgbClr val="EFF7FF">
                  <a:alpha val="30196"/>
                </a:srgbClr>
              </a:solidFill>
              <a:ln>
                <a:solidFill>
                  <a:srgbClr val="000000">
                    <a:alpha val="18824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</a:endParaRPr>
              </a:p>
            </p:txBody>
          </p:sp>
        </p:grpSp>
        <p:sp>
          <p:nvSpPr>
            <p:cNvPr id="111" name="CasellaDiTesto 24">
              <a:extLst>
                <a:ext uri="{FF2B5EF4-FFF2-40B4-BE49-F238E27FC236}">
                  <a16:creationId xmlns:a16="http://schemas.microsoft.com/office/drawing/2014/main" id="{BAABCA18-26C8-44E1-8AEA-C11BEE793830}"/>
                </a:ext>
              </a:extLst>
            </p:cNvPr>
            <p:cNvSpPr txBox="1"/>
            <p:nvPr/>
          </p:nvSpPr>
          <p:spPr>
            <a:xfrm>
              <a:off x="5060064" y="2274298"/>
              <a:ext cx="3376122" cy="335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R="0" lvl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b="1" dirty="0">
                  <a:ln w="0"/>
                  <a:solidFill>
                    <a:srgbClr val="1D388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Graphik" panose="020B0503030202060203" pitchFamily="34" charset="0"/>
                </a:rPr>
                <a:t>AUMENTO DEI PREZZI</a:t>
              </a:r>
            </a:p>
          </p:txBody>
        </p: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9E70E107-FDB1-4EF4-85A3-D508C94FD3AE}"/>
              </a:ext>
            </a:extLst>
          </p:cNvPr>
          <p:cNvGrpSpPr/>
          <p:nvPr/>
        </p:nvGrpSpPr>
        <p:grpSpPr>
          <a:xfrm>
            <a:off x="1007194" y="4961054"/>
            <a:ext cx="4072476" cy="1442158"/>
            <a:chOff x="979376" y="4570023"/>
            <a:chExt cx="4072476" cy="1442158"/>
          </a:xfrm>
        </p:grpSpPr>
        <p:pic>
          <p:nvPicPr>
            <p:cNvPr id="115" name="Picture 8" descr="Free Gray and Black Laptop Computer Stock Photo">
              <a:extLst>
                <a:ext uri="{FF2B5EF4-FFF2-40B4-BE49-F238E27FC236}">
                  <a16:creationId xmlns:a16="http://schemas.microsoft.com/office/drawing/2014/main" id="{FD201836-6964-4250-BA5B-42392A5B3D9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672" t="34533" r="17135" b="47399"/>
            <a:stretch/>
          </p:blipFill>
          <p:spPr bwMode="auto">
            <a:xfrm>
              <a:off x="1102532" y="4601639"/>
              <a:ext cx="3826165" cy="1410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6" name="Rectangle: Rounded Corners 115">
              <a:extLst>
                <a:ext uri="{FF2B5EF4-FFF2-40B4-BE49-F238E27FC236}">
                  <a16:creationId xmlns:a16="http://schemas.microsoft.com/office/drawing/2014/main" id="{822F2EEA-CAE3-45F4-A0DB-CA9587157721}"/>
                </a:ext>
              </a:extLst>
            </p:cNvPr>
            <p:cNvSpPr/>
            <p:nvPr/>
          </p:nvSpPr>
          <p:spPr>
            <a:xfrm>
              <a:off x="979376" y="4570023"/>
              <a:ext cx="4072476" cy="1442158"/>
            </a:xfrm>
            <a:prstGeom prst="roundRect">
              <a:avLst/>
            </a:prstGeom>
            <a:solidFill>
              <a:srgbClr val="EFF7FF">
                <a:alpha val="30196"/>
              </a:srgbClr>
            </a:solidFill>
            <a:ln>
              <a:solidFill>
                <a:srgbClr val="000000">
                  <a:alpha val="18824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endParaRPr>
            </a:p>
          </p:txBody>
        </p:sp>
        <p:sp>
          <p:nvSpPr>
            <p:cNvPr id="117" name="CasellaDiTesto 24">
              <a:extLst>
                <a:ext uri="{FF2B5EF4-FFF2-40B4-BE49-F238E27FC236}">
                  <a16:creationId xmlns:a16="http://schemas.microsoft.com/office/drawing/2014/main" id="{A3344813-1B28-4CB2-AA56-4B2AC3674543}"/>
                </a:ext>
              </a:extLst>
            </p:cNvPr>
            <p:cNvSpPr txBox="1"/>
            <p:nvPr/>
          </p:nvSpPr>
          <p:spPr>
            <a:xfrm>
              <a:off x="1013760" y="4948004"/>
              <a:ext cx="398769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R="0" lvl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b="1" dirty="0">
                  <a:ln w="0"/>
                  <a:solidFill>
                    <a:srgbClr val="1D3880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Graphik" panose="020B0503030202060203" pitchFamily="34" charset="0"/>
                </a:rPr>
                <a:t>INCERTEZZA NELLO SCENARIO ECONOMICO EUROPEO</a:t>
              </a:r>
            </a:p>
          </p:txBody>
        </p:sp>
      </p:grpSp>
      <p:pic>
        <p:nvPicPr>
          <p:cNvPr id="38" name="Picture 37" descr="Logo&#10;&#10;Description automatically generated">
            <a:extLst>
              <a:ext uri="{FF2B5EF4-FFF2-40B4-BE49-F238E27FC236}">
                <a16:creationId xmlns:a16="http://schemas.microsoft.com/office/drawing/2014/main" id="{1809EA51-208D-4777-AF70-D55494ADDC4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1671803" y="6406830"/>
            <a:ext cx="351082" cy="29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9274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0" y="1"/>
            <a:ext cx="12192000" cy="1475273"/>
          </a:xfrm>
          <a:prstGeom prst="rect">
            <a:avLst/>
          </a:prstGeom>
          <a:solidFill>
            <a:srgbClr val="1D3880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270AA2-79AA-4912-B51E-51179F7A2AE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6" t="48168" r="984" b="33433"/>
          <a:stretch/>
        </p:blipFill>
        <p:spPr>
          <a:xfrm>
            <a:off x="1" y="-21192"/>
            <a:ext cx="12196790" cy="1503700"/>
          </a:xfrm>
          <a:prstGeom prst="rect">
            <a:avLst/>
          </a:prstGeom>
        </p:spPr>
      </p:pic>
      <p:sp>
        <p:nvSpPr>
          <p:cNvPr id="129" name="TextBox 16">
            <a:extLst>
              <a:ext uri="{FF2B5EF4-FFF2-40B4-BE49-F238E27FC236}">
                <a16:creationId xmlns:a16="http://schemas.microsoft.com/office/drawing/2014/main" id="{6E8FEBB2-401C-47BF-B073-3BF8DB0625C4}"/>
              </a:ext>
            </a:extLst>
          </p:cNvPr>
          <p:cNvSpPr txBox="1"/>
          <p:nvPr/>
        </p:nvSpPr>
        <p:spPr>
          <a:xfrm>
            <a:off x="607348" y="914615"/>
            <a:ext cx="9800373" cy="2373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Black" panose="020B0A03030202060203" pitchFamily="34" charset="0"/>
              </a:rPr>
              <a:t>PNRR ITALIA - RIFORME E INVESTIMENTI</a:t>
            </a:r>
          </a:p>
        </p:txBody>
      </p:sp>
      <p:sp>
        <p:nvSpPr>
          <p:cNvPr id="54" name="Rectangle 41">
            <a:extLst>
              <a:ext uri="{FF2B5EF4-FFF2-40B4-BE49-F238E27FC236}">
                <a16:creationId xmlns:a16="http://schemas.microsoft.com/office/drawing/2014/main" id="{3324D2E8-CEAC-46B9-87D7-7C40134F8223}"/>
              </a:ext>
            </a:extLst>
          </p:cNvPr>
          <p:cNvSpPr/>
          <p:nvPr/>
        </p:nvSpPr>
        <p:spPr>
          <a:xfrm>
            <a:off x="0" y="3723489"/>
            <a:ext cx="12192000" cy="20299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sp>
        <p:nvSpPr>
          <p:cNvPr id="61" name="Rettangolo 21">
            <a:extLst>
              <a:ext uri="{FF2B5EF4-FFF2-40B4-BE49-F238E27FC236}">
                <a16:creationId xmlns:a16="http://schemas.microsoft.com/office/drawing/2014/main" id="{00B76E7D-B537-47D7-8C71-916B4D2AA196}"/>
              </a:ext>
            </a:extLst>
          </p:cNvPr>
          <p:cNvSpPr/>
          <p:nvPr/>
        </p:nvSpPr>
        <p:spPr>
          <a:xfrm>
            <a:off x="528701" y="1703731"/>
            <a:ext cx="1414927" cy="1224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6600" b="1" i="0" u="none" strike="noStrike" kern="1200" cap="none" spc="0" normalizeH="0" baseline="0" noProof="0">
                <a:ln>
                  <a:noFill/>
                </a:ln>
                <a:solidFill>
                  <a:srgbClr val="CDA73C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6</a:t>
            </a:r>
            <a:endParaRPr kumimoji="0" lang="it-IT" sz="6600" b="0" i="0" u="none" strike="noStrike" kern="1200" cap="none" spc="0" normalizeH="0" baseline="0" noProof="0">
              <a:ln>
                <a:noFill/>
              </a:ln>
              <a:solidFill>
                <a:srgbClr val="CDA73C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62" name="Rettangolo 23">
            <a:extLst>
              <a:ext uri="{FF2B5EF4-FFF2-40B4-BE49-F238E27FC236}">
                <a16:creationId xmlns:a16="http://schemas.microsoft.com/office/drawing/2014/main" id="{50EF9FFD-15CE-4DE1-8467-B6B6EA171271}"/>
              </a:ext>
            </a:extLst>
          </p:cNvPr>
          <p:cNvSpPr/>
          <p:nvPr/>
        </p:nvSpPr>
        <p:spPr>
          <a:xfrm>
            <a:off x="523098" y="2851618"/>
            <a:ext cx="1426132" cy="468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Missioni</a:t>
            </a:r>
          </a:p>
        </p:txBody>
      </p:sp>
      <p:sp>
        <p:nvSpPr>
          <p:cNvPr id="63" name="Rettangolo 46">
            <a:extLst>
              <a:ext uri="{FF2B5EF4-FFF2-40B4-BE49-F238E27FC236}">
                <a16:creationId xmlns:a16="http://schemas.microsoft.com/office/drawing/2014/main" id="{E4331EE9-CEA8-4B73-B172-DB9B6E3AAA7F}"/>
              </a:ext>
            </a:extLst>
          </p:cNvPr>
          <p:cNvSpPr/>
          <p:nvPr/>
        </p:nvSpPr>
        <p:spPr>
          <a:xfrm>
            <a:off x="2674123" y="1703731"/>
            <a:ext cx="1883268" cy="1224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6600" b="1" i="0" u="none" strike="noStrike" kern="1200" cap="none" spc="0" normalizeH="0" baseline="0" noProof="0" dirty="0">
                <a:ln>
                  <a:noFill/>
                </a:ln>
                <a:solidFill>
                  <a:srgbClr val="CDA73C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16</a:t>
            </a:r>
            <a:endParaRPr kumimoji="0" lang="it-IT" sz="6600" b="0" i="0" u="none" strike="noStrike" kern="1200" cap="none" spc="0" normalizeH="0" baseline="0" noProof="0" dirty="0">
              <a:ln>
                <a:noFill/>
              </a:ln>
              <a:solidFill>
                <a:srgbClr val="CDA73C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64" name="Rettangolo 47">
            <a:extLst>
              <a:ext uri="{FF2B5EF4-FFF2-40B4-BE49-F238E27FC236}">
                <a16:creationId xmlns:a16="http://schemas.microsoft.com/office/drawing/2014/main" id="{A701CC34-061B-46FB-8D39-4E361A92C2B1}"/>
              </a:ext>
            </a:extLst>
          </p:cNvPr>
          <p:cNvSpPr/>
          <p:nvPr/>
        </p:nvSpPr>
        <p:spPr>
          <a:xfrm>
            <a:off x="2666666" y="2851618"/>
            <a:ext cx="1898182" cy="468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Componenti</a:t>
            </a:r>
          </a:p>
        </p:txBody>
      </p:sp>
      <p:sp>
        <p:nvSpPr>
          <p:cNvPr id="65" name="Rettangolo 55">
            <a:extLst>
              <a:ext uri="{FF2B5EF4-FFF2-40B4-BE49-F238E27FC236}">
                <a16:creationId xmlns:a16="http://schemas.microsoft.com/office/drawing/2014/main" id="{F8B2754B-2475-4080-AB59-9AE043E70765}"/>
              </a:ext>
            </a:extLst>
          </p:cNvPr>
          <p:cNvSpPr/>
          <p:nvPr/>
        </p:nvSpPr>
        <p:spPr>
          <a:xfrm>
            <a:off x="5082043" y="1703731"/>
            <a:ext cx="1883268" cy="1224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6600" b="1" i="0" u="none" strike="noStrike" kern="1200" cap="none" spc="0" normalizeH="0" baseline="0" noProof="0">
                <a:ln>
                  <a:noFill/>
                </a:ln>
                <a:solidFill>
                  <a:srgbClr val="CDA73C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197</a:t>
            </a:r>
            <a:endParaRPr kumimoji="0" lang="it-IT" sz="6600" b="0" i="0" u="none" strike="noStrike" kern="1200" cap="none" spc="0" normalizeH="0" baseline="0" noProof="0">
              <a:ln>
                <a:noFill/>
              </a:ln>
              <a:solidFill>
                <a:srgbClr val="CDA73C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66" name="Rettangolo 56">
            <a:extLst>
              <a:ext uri="{FF2B5EF4-FFF2-40B4-BE49-F238E27FC236}">
                <a16:creationId xmlns:a16="http://schemas.microsoft.com/office/drawing/2014/main" id="{D182B812-58D3-4746-9BD4-0140879A501D}"/>
              </a:ext>
            </a:extLst>
          </p:cNvPr>
          <p:cNvSpPr/>
          <p:nvPr/>
        </p:nvSpPr>
        <p:spPr>
          <a:xfrm>
            <a:off x="5314770" y="2851618"/>
            <a:ext cx="1426132" cy="468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Misure</a:t>
            </a:r>
          </a:p>
        </p:txBody>
      </p:sp>
      <p:sp>
        <p:nvSpPr>
          <p:cNvPr id="67" name="Rettangolo 57">
            <a:extLst>
              <a:ext uri="{FF2B5EF4-FFF2-40B4-BE49-F238E27FC236}">
                <a16:creationId xmlns:a16="http://schemas.microsoft.com/office/drawing/2014/main" id="{6BC06CE0-B849-4DF5-B2A4-0EDD79109419}"/>
              </a:ext>
            </a:extLst>
          </p:cNvPr>
          <p:cNvSpPr/>
          <p:nvPr/>
        </p:nvSpPr>
        <p:spPr>
          <a:xfrm>
            <a:off x="7229865" y="1703731"/>
            <a:ext cx="1712062" cy="1224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6600" b="1" i="0" u="none" strike="noStrike" kern="1200" cap="none" spc="0" normalizeH="0" baseline="0" noProof="0">
                <a:ln>
                  <a:noFill/>
                </a:ln>
                <a:solidFill>
                  <a:srgbClr val="CDA73C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63</a:t>
            </a:r>
            <a:endParaRPr kumimoji="0" lang="it-IT" sz="6600" b="0" i="0" u="none" strike="noStrike" kern="1200" cap="none" spc="0" normalizeH="0" baseline="0" noProof="0">
              <a:ln>
                <a:noFill/>
              </a:ln>
              <a:solidFill>
                <a:srgbClr val="CDA73C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68" name="Rettangolo 58">
            <a:extLst>
              <a:ext uri="{FF2B5EF4-FFF2-40B4-BE49-F238E27FC236}">
                <a16:creationId xmlns:a16="http://schemas.microsoft.com/office/drawing/2014/main" id="{F0367B36-0030-4F3D-9C60-EAE1454A9E78}"/>
              </a:ext>
            </a:extLst>
          </p:cNvPr>
          <p:cNvSpPr/>
          <p:nvPr/>
        </p:nvSpPr>
        <p:spPr>
          <a:xfrm>
            <a:off x="7474581" y="2851618"/>
            <a:ext cx="1296484" cy="468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Riforme</a:t>
            </a:r>
          </a:p>
        </p:txBody>
      </p:sp>
      <p:sp>
        <p:nvSpPr>
          <p:cNvPr id="69" name="Rettangolo 59">
            <a:extLst>
              <a:ext uri="{FF2B5EF4-FFF2-40B4-BE49-F238E27FC236}">
                <a16:creationId xmlns:a16="http://schemas.microsoft.com/office/drawing/2014/main" id="{AD6F3D23-135E-41A6-9F53-CAFDB4C321CB}"/>
              </a:ext>
            </a:extLst>
          </p:cNvPr>
          <p:cNvSpPr/>
          <p:nvPr/>
        </p:nvSpPr>
        <p:spPr>
          <a:xfrm>
            <a:off x="9200522" y="1703731"/>
            <a:ext cx="2506629" cy="1224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6600" b="1" dirty="0">
                <a:solidFill>
                  <a:srgbClr val="CDA73C"/>
                </a:solidFill>
                <a:latin typeface="Graphik" panose="020B0503030202060203" pitchFamily="34" charset="0"/>
                <a:cs typeface="Arial"/>
              </a:rPr>
              <a:t>134</a:t>
            </a:r>
          </a:p>
        </p:txBody>
      </p:sp>
      <p:sp>
        <p:nvSpPr>
          <p:cNvPr id="70" name="Rettangolo 60">
            <a:extLst>
              <a:ext uri="{FF2B5EF4-FFF2-40B4-BE49-F238E27FC236}">
                <a16:creationId xmlns:a16="http://schemas.microsoft.com/office/drawing/2014/main" id="{A9FD2C63-9B70-4FA8-9EB5-D9D0120DEB9A}"/>
              </a:ext>
            </a:extLst>
          </p:cNvPr>
          <p:cNvSpPr/>
          <p:nvPr/>
        </p:nvSpPr>
        <p:spPr>
          <a:xfrm>
            <a:off x="9504745" y="2851618"/>
            <a:ext cx="1898182" cy="468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Investimenti</a:t>
            </a:r>
          </a:p>
        </p:txBody>
      </p:sp>
      <p:sp>
        <p:nvSpPr>
          <p:cNvPr id="71" name="Rettangolo 71">
            <a:extLst>
              <a:ext uri="{FF2B5EF4-FFF2-40B4-BE49-F238E27FC236}">
                <a16:creationId xmlns:a16="http://schemas.microsoft.com/office/drawing/2014/main" id="{E3BDCEA8-25E9-450A-8B66-AA2BE096D18D}"/>
              </a:ext>
            </a:extLst>
          </p:cNvPr>
          <p:cNvSpPr/>
          <p:nvPr/>
        </p:nvSpPr>
        <p:spPr>
          <a:xfrm>
            <a:off x="6308471" y="4145081"/>
            <a:ext cx="924651" cy="924651"/>
          </a:xfrm>
          <a:prstGeom prst="rect">
            <a:avLst/>
          </a:prstGeom>
          <a:solidFill>
            <a:srgbClr val="476D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0A2542">
                  <a:lumMod val="85000"/>
                  <a:lumOff val="15000"/>
                </a:srgbClr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pic>
        <p:nvPicPr>
          <p:cNvPr id="72" name="Elemento grafico 72" descr="Euro con riempimento a tinta unita">
            <a:extLst>
              <a:ext uri="{FF2B5EF4-FFF2-40B4-BE49-F238E27FC236}">
                <a16:creationId xmlns:a16="http://schemas.microsoft.com/office/drawing/2014/main" id="{8513EE3A-C906-41B4-802C-7FADFD8532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01468" y="4338078"/>
            <a:ext cx="538657" cy="538657"/>
          </a:xfrm>
          <a:prstGeom prst="rect">
            <a:avLst/>
          </a:prstGeom>
        </p:spPr>
      </p:pic>
      <p:sp>
        <p:nvSpPr>
          <p:cNvPr id="73" name="Rettangolo 73">
            <a:extLst>
              <a:ext uri="{FF2B5EF4-FFF2-40B4-BE49-F238E27FC236}">
                <a16:creationId xmlns:a16="http://schemas.microsoft.com/office/drawing/2014/main" id="{6F6676A4-6303-498A-BF65-1CEB6CDC6201}"/>
              </a:ext>
            </a:extLst>
          </p:cNvPr>
          <p:cNvSpPr/>
          <p:nvPr/>
        </p:nvSpPr>
        <p:spPr>
          <a:xfrm>
            <a:off x="7507234" y="4007491"/>
            <a:ext cx="4005101" cy="77857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€ 191,5 </a:t>
            </a:r>
            <a:r>
              <a:rPr kumimoji="0" lang="it-IT" sz="3200" b="0" i="0" u="none" strike="noStrike" kern="1200" cap="none" spc="0" normalizeH="0" baseline="0" noProof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Mld</a:t>
            </a:r>
          </a:p>
        </p:txBody>
      </p:sp>
      <p:sp>
        <p:nvSpPr>
          <p:cNvPr id="74" name="Rettangolo 75">
            <a:extLst>
              <a:ext uri="{FF2B5EF4-FFF2-40B4-BE49-F238E27FC236}">
                <a16:creationId xmlns:a16="http://schemas.microsoft.com/office/drawing/2014/main" id="{99292E97-AB47-4A1A-86D3-BD421500AF2D}"/>
              </a:ext>
            </a:extLst>
          </p:cNvPr>
          <p:cNvSpPr/>
          <p:nvPr/>
        </p:nvSpPr>
        <p:spPr>
          <a:xfrm>
            <a:off x="1239291" y="4122172"/>
            <a:ext cx="924651" cy="924651"/>
          </a:xfrm>
          <a:prstGeom prst="rect">
            <a:avLst/>
          </a:prstGeom>
          <a:solidFill>
            <a:srgbClr val="476D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0A2542">
                  <a:lumMod val="85000"/>
                  <a:lumOff val="15000"/>
                </a:srgbClr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75" name="Rettangolo 76">
            <a:extLst>
              <a:ext uri="{FF2B5EF4-FFF2-40B4-BE49-F238E27FC236}">
                <a16:creationId xmlns:a16="http://schemas.microsoft.com/office/drawing/2014/main" id="{B519D048-B943-4D7B-AF88-0B032FB64F1C}"/>
              </a:ext>
            </a:extLst>
          </p:cNvPr>
          <p:cNvSpPr/>
          <p:nvPr/>
        </p:nvSpPr>
        <p:spPr>
          <a:xfrm>
            <a:off x="2414376" y="3931720"/>
            <a:ext cx="3662413" cy="135137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2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527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Traguardi &amp; </a:t>
            </a:r>
            <a:r>
              <a:rPr lang="it-IT" sz="2000">
                <a:solidFill>
                  <a:srgbClr val="0A2643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Obiettivi</a:t>
            </a: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0A2643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5A9C2449-25B6-4F84-953D-395169AE77A6}"/>
              </a:ext>
            </a:extLst>
          </p:cNvPr>
          <p:cNvSpPr/>
          <p:nvPr/>
        </p:nvSpPr>
        <p:spPr>
          <a:xfrm>
            <a:off x="7453498" y="4642432"/>
            <a:ext cx="3662413" cy="6112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€ 68,9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Mld di sovvenzioni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€ 122,6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Mld di prestiti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5C421C7-187C-435C-9906-EBB5A80C21B6}"/>
              </a:ext>
            </a:extLst>
          </p:cNvPr>
          <p:cNvSpPr/>
          <p:nvPr/>
        </p:nvSpPr>
        <p:spPr>
          <a:xfrm>
            <a:off x="2102073" y="2379861"/>
            <a:ext cx="250434" cy="45719"/>
          </a:xfrm>
          <a:prstGeom prst="rect">
            <a:avLst/>
          </a:prstGeom>
          <a:solidFill>
            <a:srgbClr val="C4CD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507EC9D-ABC1-422E-8F4A-5B816CE6830E}"/>
              </a:ext>
            </a:extLst>
          </p:cNvPr>
          <p:cNvSpPr/>
          <p:nvPr/>
        </p:nvSpPr>
        <p:spPr>
          <a:xfrm>
            <a:off x="4686948" y="2379861"/>
            <a:ext cx="250434" cy="45719"/>
          </a:xfrm>
          <a:prstGeom prst="rect">
            <a:avLst/>
          </a:prstGeom>
          <a:solidFill>
            <a:srgbClr val="C4CD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BBFC7AFD-D183-454F-90FC-168C848E4C77}"/>
              </a:ext>
            </a:extLst>
          </p:cNvPr>
          <p:cNvSpPr/>
          <p:nvPr/>
        </p:nvSpPr>
        <p:spPr>
          <a:xfrm>
            <a:off x="7043297" y="2379861"/>
            <a:ext cx="250434" cy="45719"/>
          </a:xfrm>
          <a:prstGeom prst="rect">
            <a:avLst/>
          </a:prstGeom>
          <a:solidFill>
            <a:srgbClr val="C4CD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41854474-4AE0-4A39-9338-7DEDE0FC9C82}"/>
              </a:ext>
            </a:extLst>
          </p:cNvPr>
          <p:cNvSpPr/>
          <p:nvPr/>
        </p:nvSpPr>
        <p:spPr>
          <a:xfrm>
            <a:off x="9018155" y="2379861"/>
            <a:ext cx="250434" cy="45719"/>
          </a:xfrm>
          <a:prstGeom prst="rect">
            <a:avLst/>
          </a:prstGeom>
          <a:solidFill>
            <a:srgbClr val="C4CD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grpSp>
        <p:nvGrpSpPr>
          <p:cNvPr id="81" name="Group 49">
            <a:extLst>
              <a:ext uri="{FF2B5EF4-FFF2-40B4-BE49-F238E27FC236}">
                <a16:creationId xmlns:a16="http://schemas.microsoft.com/office/drawing/2014/main" id="{F610CE69-7DE2-4DAA-934F-2C1C9520667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8440" y="4252251"/>
            <a:ext cx="343477" cy="392152"/>
            <a:chOff x="6566" y="437"/>
            <a:chExt cx="374" cy="427"/>
          </a:xfrm>
          <a:solidFill>
            <a:schemeClr val="bg1"/>
          </a:solidFill>
        </p:grpSpPr>
        <p:sp>
          <p:nvSpPr>
            <p:cNvPr id="82" name="Freeform 50">
              <a:extLst>
                <a:ext uri="{FF2B5EF4-FFF2-40B4-BE49-F238E27FC236}">
                  <a16:creationId xmlns:a16="http://schemas.microsoft.com/office/drawing/2014/main" id="{ED21DADC-687B-4F42-9164-CC9DBA7615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01" y="455"/>
              <a:ext cx="339" cy="231"/>
            </a:xfrm>
            <a:custGeom>
              <a:avLst/>
              <a:gdLst>
                <a:gd name="T0" fmla="*/ 222 w 229"/>
                <a:gd name="T1" fmla="*/ 156 h 156"/>
                <a:gd name="T2" fmla="*/ 6 w 229"/>
                <a:gd name="T3" fmla="*/ 156 h 156"/>
                <a:gd name="T4" fmla="*/ 0 w 229"/>
                <a:gd name="T5" fmla="*/ 150 h 156"/>
                <a:gd name="T6" fmla="*/ 0 w 229"/>
                <a:gd name="T7" fmla="*/ 6 h 156"/>
                <a:gd name="T8" fmla="*/ 6 w 229"/>
                <a:gd name="T9" fmla="*/ 0 h 156"/>
                <a:gd name="T10" fmla="*/ 222 w 229"/>
                <a:gd name="T11" fmla="*/ 0 h 156"/>
                <a:gd name="T12" fmla="*/ 228 w 229"/>
                <a:gd name="T13" fmla="*/ 4 h 156"/>
                <a:gd name="T14" fmla="*/ 226 w 229"/>
                <a:gd name="T15" fmla="*/ 11 h 156"/>
                <a:gd name="T16" fmla="*/ 142 w 229"/>
                <a:gd name="T17" fmla="*/ 78 h 156"/>
                <a:gd name="T18" fmla="*/ 226 w 229"/>
                <a:gd name="T19" fmla="*/ 145 h 156"/>
                <a:gd name="T20" fmla="*/ 228 w 229"/>
                <a:gd name="T21" fmla="*/ 152 h 156"/>
                <a:gd name="T22" fmla="*/ 222 w 229"/>
                <a:gd name="T23" fmla="*/ 156 h 156"/>
                <a:gd name="T24" fmla="*/ 12 w 229"/>
                <a:gd name="T25" fmla="*/ 144 h 156"/>
                <a:gd name="T26" fmla="*/ 205 w 229"/>
                <a:gd name="T27" fmla="*/ 144 h 156"/>
                <a:gd name="T28" fmla="*/ 129 w 229"/>
                <a:gd name="T29" fmla="*/ 83 h 156"/>
                <a:gd name="T30" fmla="*/ 126 w 229"/>
                <a:gd name="T31" fmla="*/ 78 h 156"/>
                <a:gd name="T32" fmla="*/ 129 w 229"/>
                <a:gd name="T33" fmla="*/ 73 h 156"/>
                <a:gd name="T34" fmla="*/ 205 w 229"/>
                <a:gd name="T35" fmla="*/ 12 h 156"/>
                <a:gd name="T36" fmla="*/ 12 w 229"/>
                <a:gd name="T37" fmla="*/ 12 h 156"/>
                <a:gd name="T38" fmla="*/ 12 w 229"/>
                <a:gd name="T39" fmla="*/ 144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9" h="156">
                  <a:moveTo>
                    <a:pt x="222" y="156"/>
                  </a:moveTo>
                  <a:cubicBezTo>
                    <a:pt x="6" y="156"/>
                    <a:pt x="6" y="156"/>
                    <a:pt x="6" y="156"/>
                  </a:cubicBezTo>
                  <a:cubicBezTo>
                    <a:pt x="3" y="156"/>
                    <a:pt x="0" y="153"/>
                    <a:pt x="0" y="15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225" y="0"/>
                    <a:pt x="227" y="2"/>
                    <a:pt x="228" y="4"/>
                  </a:cubicBezTo>
                  <a:cubicBezTo>
                    <a:pt x="229" y="6"/>
                    <a:pt x="228" y="9"/>
                    <a:pt x="226" y="11"/>
                  </a:cubicBezTo>
                  <a:cubicBezTo>
                    <a:pt x="142" y="78"/>
                    <a:pt x="142" y="78"/>
                    <a:pt x="142" y="78"/>
                  </a:cubicBezTo>
                  <a:cubicBezTo>
                    <a:pt x="226" y="145"/>
                    <a:pt x="226" y="145"/>
                    <a:pt x="226" y="145"/>
                  </a:cubicBezTo>
                  <a:cubicBezTo>
                    <a:pt x="228" y="147"/>
                    <a:pt x="229" y="150"/>
                    <a:pt x="228" y="152"/>
                  </a:cubicBezTo>
                  <a:cubicBezTo>
                    <a:pt x="227" y="154"/>
                    <a:pt x="225" y="156"/>
                    <a:pt x="222" y="156"/>
                  </a:cubicBezTo>
                  <a:close/>
                  <a:moveTo>
                    <a:pt x="12" y="144"/>
                  </a:moveTo>
                  <a:cubicBezTo>
                    <a:pt x="205" y="144"/>
                    <a:pt x="205" y="144"/>
                    <a:pt x="205" y="144"/>
                  </a:cubicBezTo>
                  <a:cubicBezTo>
                    <a:pt x="129" y="83"/>
                    <a:pt x="129" y="83"/>
                    <a:pt x="129" y="83"/>
                  </a:cubicBezTo>
                  <a:cubicBezTo>
                    <a:pt x="127" y="82"/>
                    <a:pt x="126" y="80"/>
                    <a:pt x="126" y="78"/>
                  </a:cubicBezTo>
                  <a:cubicBezTo>
                    <a:pt x="126" y="76"/>
                    <a:pt x="127" y="74"/>
                    <a:pt x="129" y="73"/>
                  </a:cubicBezTo>
                  <a:cubicBezTo>
                    <a:pt x="205" y="12"/>
                    <a:pt x="205" y="12"/>
                    <a:pt x="205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83" name="Freeform 51">
              <a:extLst>
                <a:ext uri="{FF2B5EF4-FFF2-40B4-BE49-F238E27FC236}">
                  <a16:creationId xmlns:a16="http://schemas.microsoft.com/office/drawing/2014/main" id="{9B2E1CDE-0CDD-4BA0-88A7-B07216404D5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6" y="437"/>
              <a:ext cx="18" cy="427"/>
            </a:xfrm>
            <a:custGeom>
              <a:avLst/>
              <a:gdLst>
                <a:gd name="T0" fmla="*/ 6 w 12"/>
                <a:gd name="T1" fmla="*/ 288 h 288"/>
                <a:gd name="T2" fmla="*/ 0 w 12"/>
                <a:gd name="T3" fmla="*/ 282 h 288"/>
                <a:gd name="T4" fmla="*/ 0 w 12"/>
                <a:gd name="T5" fmla="*/ 6 h 288"/>
                <a:gd name="T6" fmla="*/ 6 w 12"/>
                <a:gd name="T7" fmla="*/ 0 h 288"/>
                <a:gd name="T8" fmla="*/ 12 w 12"/>
                <a:gd name="T9" fmla="*/ 6 h 288"/>
                <a:gd name="T10" fmla="*/ 12 w 12"/>
                <a:gd name="T11" fmla="*/ 282 h 288"/>
                <a:gd name="T12" fmla="*/ 6 w 12"/>
                <a:gd name="T13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88">
                  <a:moveTo>
                    <a:pt x="6" y="288"/>
                  </a:moveTo>
                  <a:cubicBezTo>
                    <a:pt x="3" y="288"/>
                    <a:pt x="0" y="285"/>
                    <a:pt x="0" y="2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82"/>
                    <a:pt x="12" y="282"/>
                    <a:pt x="12" y="282"/>
                  </a:cubicBezTo>
                  <a:cubicBezTo>
                    <a:pt x="12" y="285"/>
                    <a:pt x="10" y="288"/>
                    <a:pt x="6" y="2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600" b="0" i="0" u="none" strike="noStrike" kern="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</p:grpSp>
      <p:grpSp>
        <p:nvGrpSpPr>
          <p:cNvPr id="84" name="Group 515">
            <a:extLst>
              <a:ext uri="{FF2B5EF4-FFF2-40B4-BE49-F238E27FC236}">
                <a16:creationId xmlns:a16="http://schemas.microsoft.com/office/drawing/2014/main" id="{F39173A6-E8C2-48C9-B963-DB7FB38D5038}"/>
              </a:ext>
            </a:extLst>
          </p:cNvPr>
          <p:cNvGrpSpPr/>
          <p:nvPr/>
        </p:nvGrpSpPr>
        <p:grpSpPr>
          <a:xfrm>
            <a:off x="1633712" y="4564619"/>
            <a:ext cx="378109" cy="356503"/>
            <a:chOff x="3468483" y="2355825"/>
            <a:chExt cx="643938" cy="642158"/>
          </a:xfrm>
          <a:solidFill>
            <a:schemeClr val="bg1"/>
          </a:solidFill>
        </p:grpSpPr>
        <p:sp>
          <p:nvSpPr>
            <p:cNvPr id="85" name="Freeform 5">
              <a:extLst>
                <a:ext uri="{FF2B5EF4-FFF2-40B4-BE49-F238E27FC236}">
                  <a16:creationId xmlns:a16="http://schemas.microsoft.com/office/drawing/2014/main" id="{D6498AA0-B102-4537-B516-41DF8FD829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1991" y="2355825"/>
              <a:ext cx="350430" cy="350430"/>
            </a:xfrm>
            <a:custGeom>
              <a:avLst/>
              <a:gdLst>
                <a:gd name="T0" fmla="*/ 11 w 133"/>
                <a:gd name="T1" fmla="*/ 111 h 133"/>
                <a:gd name="T2" fmla="*/ 0 w 133"/>
                <a:gd name="T3" fmla="*/ 122 h 133"/>
                <a:gd name="T4" fmla="*/ 11 w 133"/>
                <a:gd name="T5" fmla="*/ 133 h 133"/>
                <a:gd name="T6" fmla="*/ 22 w 133"/>
                <a:gd name="T7" fmla="*/ 122 h 133"/>
                <a:gd name="T8" fmla="*/ 21 w 133"/>
                <a:gd name="T9" fmla="*/ 120 h 133"/>
                <a:gd name="T10" fmla="*/ 73 w 133"/>
                <a:gd name="T11" fmla="*/ 68 h 133"/>
                <a:gd name="T12" fmla="*/ 99 w 133"/>
                <a:gd name="T13" fmla="*/ 68 h 133"/>
                <a:gd name="T14" fmla="*/ 103 w 133"/>
                <a:gd name="T15" fmla="*/ 67 h 133"/>
                <a:gd name="T16" fmla="*/ 131 w 133"/>
                <a:gd name="T17" fmla="*/ 39 h 133"/>
                <a:gd name="T18" fmla="*/ 132 w 133"/>
                <a:gd name="T19" fmla="*/ 32 h 133"/>
                <a:gd name="T20" fmla="*/ 126 w 133"/>
                <a:gd name="T21" fmla="*/ 28 h 133"/>
                <a:gd name="T22" fmla="*/ 105 w 133"/>
                <a:gd name="T23" fmla="*/ 28 h 133"/>
                <a:gd name="T24" fmla="*/ 105 w 133"/>
                <a:gd name="T25" fmla="*/ 7 h 133"/>
                <a:gd name="T26" fmla="*/ 101 w 133"/>
                <a:gd name="T27" fmla="*/ 1 h 133"/>
                <a:gd name="T28" fmla="*/ 94 w 133"/>
                <a:gd name="T29" fmla="*/ 2 h 133"/>
                <a:gd name="T30" fmla="*/ 66 w 133"/>
                <a:gd name="T31" fmla="*/ 30 h 133"/>
                <a:gd name="T32" fmla="*/ 64 w 133"/>
                <a:gd name="T33" fmla="*/ 34 h 133"/>
                <a:gd name="T34" fmla="*/ 64 w 133"/>
                <a:gd name="T35" fmla="*/ 59 h 133"/>
                <a:gd name="T36" fmla="*/ 12 w 133"/>
                <a:gd name="T37" fmla="*/ 111 h 133"/>
                <a:gd name="T38" fmla="*/ 11 w 133"/>
                <a:gd name="T39" fmla="*/ 111 h 133"/>
                <a:gd name="T40" fmla="*/ 94 w 133"/>
                <a:gd name="T41" fmla="*/ 39 h 133"/>
                <a:gd name="T42" fmla="*/ 99 w 133"/>
                <a:gd name="T43" fmla="*/ 41 h 133"/>
                <a:gd name="T44" fmla="*/ 111 w 133"/>
                <a:gd name="T45" fmla="*/ 41 h 133"/>
                <a:gd name="T46" fmla="*/ 96 w 133"/>
                <a:gd name="T47" fmla="*/ 56 h 133"/>
                <a:gd name="T48" fmla="*/ 77 w 133"/>
                <a:gd name="T49" fmla="*/ 56 h 133"/>
                <a:gd name="T50" fmla="*/ 77 w 133"/>
                <a:gd name="T51" fmla="*/ 37 h 133"/>
                <a:gd name="T52" fmla="*/ 92 w 133"/>
                <a:gd name="T53" fmla="*/ 22 h 133"/>
                <a:gd name="T54" fmla="*/ 92 w 133"/>
                <a:gd name="T55" fmla="*/ 34 h 133"/>
                <a:gd name="T56" fmla="*/ 94 w 133"/>
                <a:gd name="T57" fmla="*/ 3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3" h="133">
                  <a:moveTo>
                    <a:pt x="11" y="111"/>
                  </a:moveTo>
                  <a:cubicBezTo>
                    <a:pt x="5" y="111"/>
                    <a:pt x="0" y="116"/>
                    <a:pt x="0" y="122"/>
                  </a:cubicBezTo>
                  <a:cubicBezTo>
                    <a:pt x="0" y="128"/>
                    <a:pt x="5" y="133"/>
                    <a:pt x="11" y="133"/>
                  </a:cubicBezTo>
                  <a:cubicBezTo>
                    <a:pt x="17" y="133"/>
                    <a:pt x="22" y="128"/>
                    <a:pt x="22" y="122"/>
                  </a:cubicBezTo>
                  <a:cubicBezTo>
                    <a:pt x="22" y="122"/>
                    <a:pt x="22" y="121"/>
                    <a:pt x="21" y="120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100" y="68"/>
                    <a:pt x="102" y="68"/>
                    <a:pt x="103" y="67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3" y="37"/>
                    <a:pt x="133" y="34"/>
                    <a:pt x="132" y="32"/>
                  </a:cubicBezTo>
                  <a:cubicBezTo>
                    <a:pt x="131" y="30"/>
                    <a:pt x="129" y="28"/>
                    <a:pt x="126" y="28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05" y="7"/>
                    <a:pt x="105" y="7"/>
                    <a:pt x="105" y="7"/>
                  </a:cubicBezTo>
                  <a:cubicBezTo>
                    <a:pt x="105" y="4"/>
                    <a:pt x="103" y="2"/>
                    <a:pt x="101" y="1"/>
                  </a:cubicBezTo>
                  <a:cubicBezTo>
                    <a:pt x="99" y="0"/>
                    <a:pt x="96" y="0"/>
                    <a:pt x="94" y="2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5" y="31"/>
                    <a:pt x="64" y="33"/>
                    <a:pt x="64" y="34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1" y="111"/>
                    <a:pt x="11" y="111"/>
                  </a:cubicBezTo>
                  <a:close/>
                  <a:moveTo>
                    <a:pt x="94" y="39"/>
                  </a:moveTo>
                  <a:cubicBezTo>
                    <a:pt x="95" y="40"/>
                    <a:pt x="97" y="41"/>
                    <a:pt x="99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6"/>
                    <a:pt x="93" y="38"/>
                    <a:pt x="94" y="3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 6">
              <a:extLst>
                <a:ext uri="{FF2B5EF4-FFF2-40B4-BE49-F238E27FC236}">
                  <a16:creationId xmlns:a16="http://schemas.microsoft.com/office/drawing/2014/main" id="{7D5A6059-0D33-49EE-BF92-09EC23383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6319" y="2453661"/>
              <a:ext cx="448266" cy="446487"/>
            </a:xfrm>
            <a:custGeom>
              <a:avLst/>
              <a:gdLst>
                <a:gd name="T0" fmla="*/ 123 w 170"/>
                <a:gd name="T1" fmla="*/ 16 h 170"/>
                <a:gd name="T2" fmla="*/ 120 w 170"/>
                <a:gd name="T3" fmla="*/ 8 h 170"/>
                <a:gd name="T4" fmla="*/ 119 w 170"/>
                <a:gd name="T5" fmla="*/ 8 h 170"/>
                <a:gd name="T6" fmla="*/ 85 w 170"/>
                <a:gd name="T7" fmla="*/ 0 h 170"/>
                <a:gd name="T8" fmla="*/ 0 w 170"/>
                <a:gd name="T9" fmla="*/ 85 h 170"/>
                <a:gd name="T10" fmla="*/ 85 w 170"/>
                <a:gd name="T11" fmla="*/ 170 h 170"/>
                <a:gd name="T12" fmla="*/ 170 w 170"/>
                <a:gd name="T13" fmla="*/ 85 h 170"/>
                <a:gd name="T14" fmla="*/ 162 w 170"/>
                <a:gd name="T15" fmla="*/ 50 h 170"/>
                <a:gd name="T16" fmla="*/ 158 w 170"/>
                <a:gd name="T17" fmla="*/ 47 h 170"/>
                <a:gd name="T18" fmla="*/ 154 w 170"/>
                <a:gd name="T19" fmla="*/ 47 h 170"/>
                <a:gd name="T20" fmla="*/ 150 w 170"/>
                <a:gd name="T21" fmla="*/ 51 h 170"/>
                <a:gd name="T22" fmla="*/ 151 w 170"/>
                <a:gd name="T23" fmla="*/ 55 h 170"/>
                <a:gd name="T24" fmla="*/ 157 w 170"/>
                <a:gd name="T25" fmla="*/ 85 h 170"/>
                <a:gd name="T26" fmla="*/ 85 w 170"/>
                <a:gd name="T27" fmla="*/ 158 h 170"/>
                <a:gd name="T28" fmla="*/ 12 w 170"/>
                <a:gd name="T29" fmla="*/ 85 h 170"/>
                <a:gd name="T30" fmla="*/ 85 w 170"/>
                <a:gd name="T31" fmla="*/ 13 h 170"/>
                <a:gd name="T32" fmla="*/ 114 w 170"/>
                <a:gd name="T33" fmla="*/ 19 h 170"/>
                <a:gd name="T34" fmla="*/ 123 w 170"/>
                <a:gd name="T35" fmla="*/ 16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70">
                  <a:moveTo>
                    <a:pt x="123" y="16"/>
                  </a:moveTo>
                  <a:cubicBezTo>
                    <a:pt x="124" y="13"/>
                    <a:pt x="123" y="9"/>
                    <a:pt x="120" y="8"/>
                  </a:cubicBezTo>
                  <a:cubicBezTo>
                    <a:pt x="119" y="8"/>
                    <a:pt x="119" y="8"/>
                    <a:pt x="119" y="8"/>
                  </a:cubicBezTo>
                  <a:cubicBezTo>
                    <a:pt x="108" y="3"/>
                    <a:pt x="97" y="0"/>
                    <a:pt x="85" y="0"/>
                  </a:cubicBezTo>
                  <a:cubicBezTo>
                    <a:pt x="38" y="0"/>
                    <a:pt x="0" y="38"/>
                    <a:pt x="0" y="85"/>
                  </a:cubicBezTo>
                  <a:cubicBezTo>
                    <a:pt x="0" y="132"/>
                    <a:pt x="38" y="170"/>
                    <a:pt x="85" y="170"/>
                  </a:cubicBezTo>
                  <a:cubicBezTo>
                    <a:pt x="131" y="170"/>
                    <a:pt x="170" y="132"/>
                    <a:pt x="170" y="85"/>
                  </a:cubicBezTo>
                  <a:cubicBezTo>
                    <a:pt x="170" y="73"/>
                    <a:pt x="167" y="61"/>
                    <a:pt x="162" y="50"/>
                  </a:cubicBezTo>
                  <a:cubicBezTo>
                    <a:pt x="161" y="49"/>
                    <a:pt x="160" y="48"/>
                    <a:pt x="158" y="47"/>
                  </a:cubicBezTo>
                  <a:cubicBezTo>
                    <a:pt x="157" y="46"/>
                    <a:pt x="155" y="46"/>
                    <a:pt x="154" y="47"/>
                  </a:cubicBezTo>
                  <a:cubicBezTo>
                    <a:pt x="152" y="48"/>
                    <a:pt x="151" y="49"/>
                    <a:pt x="150" y="51"/>
                  </a:cubicBezTo>
                  <a:cubicBezTo>
                    <a:pt x="150" y="52"/>
                    <a:pt x="150" y="54"/>
                    <a:pt x="151" y="55"/>
                  </a:cubicBezTo>
                  <a:cubicBezTo>
                    <a:pt x="155" y="65"/>
                    <a:pt x="157" y="75"/>
                    <a:pt x="157" y="85"/>
                  </a:cubicBezTo>
                  <a:cubicBezTo>
                    <a:pt x="157" y="125"/>
                    <a:pt x="124" y="158"/>
                    <a:pt x="85" y="158"/>
                  </a:cubicBezTo>
                  <a:cubicBezTo>
                    <a:pt x="45" y="158"/>
                    <a:pt x="12" y="125"/>
                    <a:pt x="12" y="85"/>
                  </a:cubicBezTo>
                  <a:cubicBezTo>
                    <a:pt x="12" y="45"/>
                    <a:pt x="45" y="13"/>
                    <a:pt x="85" y="13"/>
                  </a:cubicBezTo>
                  <a:cubicBezTo>
                    <a:pt x="95" y="13"/>
                    <a:pt x="105" y="15"/>
                    <a:pt x="114" y="19"/>
                  </a:cubicBezTo>
                  <a:cubicBezTo>
                    <a:pt x="118" y="21"/>
                    <a:pt x="121" y="19"/>
                    <a:pt x="123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7">
              <a:extLst>
                <a:ext uri="{FF2B5EF4-FFF2-40B4-BE49-F238E27FC236}">
                  <a16:creationId xmlns:a16="http://schemas.microsoft.com/office/drawing/2014/main" id="{E9D80623-B54F-408E-B724-90D3239EB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4155" y="2551496"/>
              <a:ext cx="252594" cy="250815"/>
            </a:xfrm>
            <a:custGeom>
              <a:avLst/>
              <a:gdLst>
                <a:gd name="T0" fmla="*/ 48 w 96"/>
                <a:gd name="T1" fmla="*/ 13 h 96"/>
                <a:gd name="T2" fmla="*/ 55 w 96"/>
                <a:gd name="T3" fmla="*/ 14 h 96"/>
                <a:gd name="T4" fmla="*/ 63 w 96"/>
                <a:gd name="T5" fmla="*/ 9 h 96"/>
                <a:gd name="T6" fmla="*/ 58 w 96"/>
                <a:gd name="T7" fmla="*/ 2 h 96"/>
                <a:gd name="T8" fmla="*/ 48 w 96"/>
                <a:gd name="T9" fmla="*/ 0 h 96"/>
                <a:gd name="T10" fmla="*/ 0 w 96"/>
                <a:gd name="T11" fmla="*/ 48 h 96"/>
                <a:gd name="T12" fmla="*/ 48 w 96"/>
                <a:gd name="T13" fmla="*/ 96 h 96"/>
                <a:gd name="T14" fmla="*/ 96 w 96"/>
                <a:gd name="T15" fmla="*/ 48 h 96"/>
                <a:gd name="T16" fmla="*/ 94 w 96"/>
                <a:gd name="T17" fmla="*/ 38 h 96"/>
                <a:gd name="T18" fmla="*/ 92 w 96"/>
                <a:gd name="T19" fmla="*/ 34 h 96"/>
                <a:gd name="T20" fmla="*/ 87 w 96"/>
                <a:gd name="T21" fmla="*/ 33 h 96"/>
                <a:gd name="T22" fmla="*/ 83 w 96"/>
                <a:gd name="T23" fmla="*/ 36 h 96"/>
                <a:gd name="T24" fmla="*/ 82 w 96"/>
                <a:gd name="T25" fmla="*/ 40 h 96"/>
                <a:gd name="T26" fmla="*/ 83 w 96"/>
                <a:gd name="T27" fmla="*/ 48 h 96"/>
                <a:gd name="T28" fmla="*/ 48 w 96"/>
                <a:gd name="T29" fmla="*/ 84 h 96"/>
                <a:gd name="T30" fmla="*/ 12 w 96"/>
                <a:gd name="T31" fmla="*/ 48 h 96"/>
                <a:gd name="T32" fmla="*/ 48 w 96"/>
                <a:gd name="T33" fmla="*/ 1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6" h="96">
                  <a:moveTo>
                    <a:pt x="48" y="13"/>
                  </a:moveTo>
                  <a:cubicBezTo>
                    <a:pt x="50" y="13"/>
                    <a:pt x="53" y="13"/>
                    <a:pt x="55" y="14"/>
                  </a:cubicBezTo>
                  <a:cubicBezTo>
                    <a:pt x="59" y="15"/>
                    <a:pt x="62" y="12"/>
                    <a:pt x="63" y="9"/>
                  </a:cubicBezTo>
                  <a:cubicBezTo>
                    <a:pt x="64" y="6"/>
                    <a:pt x="62" y="2"/>
                    <a:pt x="58" y="2"/>
                  </a:cubicBezTo>
                  <a:cubicBezTo>
                    <a:pt x="55" y="1"/>
                    <a:pt x="51" y="0"/>
                    <a:pt x="48" y="0"/>
                  </a:cubicBezTo>
                  <a:cubicBezTo>
                    <a:pt x="21" y="0"/>
                    <a:pt x="0" y="22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74" y="96"/>
                    <a:pt x="96" y="75"/>
                    <a:pt x="96" y="48"/>
                  </a:cubicBezTo>
                  <a:cubicBezTo>
                    <a:pt x="96" y="45"/>
                    <a:pt x="95" y="41"/>
                    <a:pt x="94" y="38"/>
                  </a:cubicBezTo>
                  <a:cubicBezTo>
                    <a:pt x="94" y="36"/>
                    <a:pt x="93" y="35"/>
                    <a:pt x="92" y="34"/>
                  </a:cubicBezTo>
                  <a:cubicBezTo>
                    <a:pt x="90" y="33"/>
                    <a:pt x="88" y="32"/>
                    <a:pt x="87" y="33"/>
                  </a:cubicBezTo>
                  <a:cubicBezTo>
                    <a:pt x="85" y="33"/>
                    <a:pt x="84" y="34"/>
                    <a:pt x="83" y="36"/>
                  </a:cubicBezTo>
                  <a:cubicBezTo>
                    <a:pt x="82" y="37"/>
                    <a:pt x="82" y="39"/>
                    <a:pt x="82" y="40"/>
                  </a:cubicBezTo>
                  <a:cubicBezTo>
                    <a:pt x="83" y="43"/>
                    <a:pt x="83" y="46"/>
                    <a:pt x="83" y="48"/>
                  </a:cubicBezTo>
                  <a:cubicBezTo>
                    <a:pt x="83" y="68"/>
                    <a:pt x="67" y="84"/>
                    <a:pt x="48" y="84"/>
                  </a:cubicBezTo>
                  <a:cubicBezTo>
                    <a:pt x="28" y="84"/>
                    <a:pt x="12" y="68"/>
                    <a:pt x="12" y="48"/>
                  </a:cubicBezTo>
                  <a:cubicBezTo>
                    <a:pt x="12" y="29"/>
                    <a:pt x="28" y="13"/>
                    <a:pt x="48" y="1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8">
              <a:extLst>
                <a:ext uri="{FF2B5EF4-FFF2-40B4-BE49-F238E27FC236}">
                  <a16:creationId xmlns:a16="http://schemas.microsoft.com/office/drawing/2014/main" id="{4723CA5E-D139-4FE6-80B4-52920DA3A8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8483" y="2355825"/>
              <a:ext cx="643938" cy="642158"/>
            </a:xfrm>
            <a:custGeom>
              <a:avLst/>
              <a:gdLst>
                <a:gd name="T0" fmla="*/ 234 w 244"/>
                <a:gd name="T1" fmla="*/ 74 h 244"/>
                <a:gd name="T2" fmla="*/ 230 w 244"/>
                <a:gd name="T3" fmla="*/ 70 h 244"/>
                <a:gd name="T4" fmla="*/ 225 w 244"/>
                <a:gd name="T5" fmla="*/ 70 h 244"/>
                <a:gd name="T6" fmla="*/ 222 w 244"/>
                <a:gd name="T7" fmla="*/ 79 h 244"/>
                <a:gd name="T8" fmla="*/ 231 w 244"/>
                <a:gd name="T9" fmla="*/ 122 h 244"/>
                <a:gd name="T10" fmla="*/ 122 w 244"/>
                <a:gd name="T11" fmla="*/ 232 h 244"/>
                <a:gd name="T12" fmla="*/ 12 w 244"/>
                <a:gd name="T13" fmla="*/ 122 h 244"/>
                <a:gd name="T14" fmla="*/ 122 w 244"/>
                <a:gd name="T15" fmla="*/ 13 h 244"/>
                <a:gd name="T16" fmla="*/ 165 w 244"/>
                <a:gd name="T17" fmla="*/ 22 h 244"/>
                <a:gd name="T18" fmla="*/ 170 w 244"/>
                <a:gd name="T19" fmla="*/ 22 h 244"/>
                <a:gd name="T20" fmla="*/ 173 w 244"/>
                <a:gd name="T21" fmla="*/ 19 h 244"/>
                <a:gd name="T22" fmla="*/ 174 w 244"/>
                <a:gd name="T23" fmla="*/ 14 h 244"/>
                <a:gd name="T24" fmla="*/ 170 w 244"/>
                <a:gd name="T25" fmla="*/ 10 h 244"/>
                <a:gd name="T26" fmla="*/ 122 w 244"/>
                <a:gd name="T27" fmla="*/ 0 h 244"/>
                <a:gd name="T28" fmla="*/ 0 w 244"/>
                <a:gd name="T29" fmla="*/ 122 h 244"/>
                <a:gd name="T30" fmla="*/ 122 w 244"/>
                <a:gd name="T31" fmla="*/ 244 h 244"/>
                <a:gd name="T32" fmla="*/ 244 w 244"/>
                <a:gd name="T33" fmla="*/ 122 h 244"/>
                <a:gd name="T34" fmla="*/ 234 w 244"/>
                <a:gd name="T35" fmla="*/ 7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4" h="244">
                  <a:moveTo>
                    <a:pt x="234" y="74"/>
                  </a:moveTo>
                  <a:cubicBezTo>
                    <a:pt x="233" y="72"/>
                    <a:pt x="232" y="71"/>
                    <a:pt x="230" y="70"/>
                  </a:cubicBezTo>
                  <a:cubicBezTo>
                    <a:pt x="229" y="70"/>
                    <a:pt x="227" y="70"/>
                    <a:pt x="225" y="70"/>
                  </a:cubicBezTo>
                  <a:cubicBezTo>
                    <a:pt x="222" y="72"/>
                    <a:pt x="221" y="76"/>
                    <a:pt x="222" y="79"/>
                  </a:cubicBezTo>
                  <a:cubicBezTo>
                    <a:pt x="228" y="93"/>
                    <a:pt x="231" y="107"/>
                    <a:pt x="231" y="122"/>
                  </a:cubicBezTo>
                  <a:cubicBezTo>
                    <a:pt x="231" y="182"/>
                    <a:pt x="182" y="232"/>
                    <a:pt x="122" y="232"/>
                  </a:cubicBezTo>
                  <a:cubicBezTo>
                    <a:pt x="61" y="232"/>
                    <a:pt x="12" y="182"/>
                    <a:pt x="12" y="122"/>
                  </a:cubicBezTo>
                  <a:cubicBezTo>
                    <a:pt x="12" y="62"/>
                    <a:pt x="61" y="13"/>
                    <a:pt x="122" y="13"/>
                  </a:cubicBezTo>
                  <a:cubicBezTo>
                    <a:pt x="137" y="13"/>
                    <a:pt x="151" y="16"/>
                    <a:pt x="165" y="22"/>
                  </a:cubicBezTo>
                  <a:cubicBezTo>
                    <a:pt x="167" y="23"/>
                    <a:pt x="168" y="23"/>
                    <a:pt x="170" y="22"/>
                  </a:cubicBezTo>
                  <a:cubicBezTo>
                    <a:pt x="172" y="21"/>
                    <a:pt x="173" y="20"/>
                    <a:pt x="173" y="19"/>
                  </a:cubicBezTo>
                  <a:cubicBezTo>
                    <a:pt x="174" y="17"/>
                    <a:pt x="174" y="15"/>
                    <a:pt x="174" y="14"/>
                  </a:cubicBezTo>
                  <a:cubicBezTo>
                    <a:pt x="173" y="12"/>
                    <a:pt x="172" y="11"/>
                    <a:pt x="170" y="10"/>
                  </a:cubicBezTo>
                  <a:cubicBezTo>
                    <a:pt x="155" y="4"/>
                    <a:pt x="138" y="0"/>
                    <a:pt x="122" y="0"/>
                  </a:cubicBezTo>
                  <a:cubicBezTo>
                    <a:pt x="54" y="0"/>
                    <a:pt x="0" y="55"/>
                    <a:pt x="0" y="122"/>
                  </a:cubicBezTo>
                  <a:cubicBezTo>
                    <a:pt x="0" y="189"/>
                    <a:pt x="54" y="244"/>
                    <a:pt x="122" y="244"/>
                  </a:cubicBezTo>
                  <a:cubicBezTo>
                    <a:pt x="189" y="244"/>
                    <a:pt x="244" y="189"/>
                    <a:pt x="244" y="122"/>
                  </a:cubicBezTo>
                  <a:cubicBezTo>
                    <a:pt x="244" y="105"/>
                    <a:pt x="240" y="89"/>
                    <a:pt x="2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9" tIns="45709" rIns="91419" bIns="4570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9" name="CasellaDiTesto 2">
            <a:extLst>
              <a:ext uri="{FF2B5EF4-FFF2-40B4-BE49-F238E27FC236}">
                <a16:creationId xmlns:a16="http://schemas.microsoft.com/office/drawing/2014/main" id="{0EDDC655-AF8A-4B01-9199-C93D897F3A4A}"/>
              </a:ext>
            </a:extLst>
          </p:cNvPr>
          <p:cNvSpPr txBox="1"/>
          <p:nvPr/>
        </p:nvSpPr>
        <p:spPr>
          <a:xfrm>
            <a:off x="666284" y="6031480"/>
            <a:ext cx="71160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Graphik" panose="020B0503030202060203" pitchFamily="34" charset="0"/>
              </a:rPr>
              <a:t>* Considerando anche i sub-investimenti il numero sale a 235</a:t>
            </a:r>
          </a:p>
        </p:txBody>
      </p:sp>
      <p:sp>
        <p:nvSpPr>
          <p:cNvPr id="91" name="Rettangolo 59">
            <a:extLst>
              <a:ext uri="{FF2B5EF4-FFF2-40B4-BE49-F238E27FC236}">
                <a16:creationId xmlns:a16="http://schemas.microsoft.com/office/drawing/2014/main" id="{6839D630-33D8-4E5D-A5D4-3C12DAEC7D0F}"/>
              </a:ext>
            </a:extLst>
          </p:cNvPr>
          <p:cNvSpPr/>
          <p:nvPr/>
        </p:nvSpPr>
        <p:spPr>
          <a:xfrm>
            <a:off x="10923598" y="1906115"/>
            <a:ext cx="840679" cy="34791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400" b="1" dirty="0">
                <a:solidFill>
                  <a:srgbClr val="CDA73C"/>
                </a:solidFill>
                <a:latin typeface="Graphik" panose="020B0503030202060203" pitchFamily="34" charset="0"/>
                <a:cs typeface="Arial"/>
              </a:rPr>
              <a:t>*</a:t>
            </a:r>
            <a:endParaRPr lang="it-IT" sz="5400" b="1" dirty="0">
              <a:solidFill>
                <a:srgbClr val="CDA73C"/>
              </a:solidFill>
              <a:latin typeface="Graphik" panose="020B0503030202060203" pitchFamily="34" charset="0"/>
              <a:cs typeface="Arial"/>
            </a:endParaRPr>
          </a:p>
        </p:txBody>
      </p:sp>
      <p:pic>
        <p:nvPicPr>
          <p:cNvPr id="37" name="Picture 36" descr="Logo&#10;&#10;Description automatically generated">
            <a:extLst>
              <a:ext uri="{FF2B5EF4-FFF2-40B4-BE49-F238E27FC236}">
                <a16:creationId xmlns:a16="http://schemas.microsoft.com/office/drawing/2014/main" id="{B5CC6296-622F-4B80-A8CD-3086CC11EF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71803" y="6406830"/>
            <a:ext cx="351082" cy="29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4134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7">
            <a:extLst>
              <a:ext uri="{FF2B5EF4-FFF2-40B4-BE49-F238E27FC236}">
                <a16:creationId xmlns:a16="http://schemas.microsoft.com/office/drawing/2014/main" id="{576709BF-C8D5-4237-9145-9087416F4E7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49" t="30501" r="9436" b="35012"/>
          <a:stretch/>
        </p:blipFill>
        <p:spPr>
          <a:xfrm>
            <a:off x="10784552" y="232055"/>
            <a:ext cx="1195591" cy="374645"/>
          </a:xfrm>
          <a:prstGeom prst="rect">
            <a:avLst/>
          </a:prstGeom>
        </p:spPr>
      </p:pic>
      <p:sp>
        <p:nvSpPr>
          <p:cNvPr id="135" name="AutoShape 2">
            <a:extLst>
              <a:ext uri="{FF2B5EF4-FFF2-40B4-BE49-F238E27FC236}">
                <a16:creationId xmlns:a16="http://schemas.microsoft.com/office/drawing/2014/main" id="{D0E92D22-F886-4F3B-BC90-22ED27E73D53}"/>
              </a:ext>
            </a:extLst>
          </p:cNvPr>
          <p:cNvSpPr/>
          <p:nvPr/>
        </p:nvSpPr>
        <p:spPr>
          <a:xfrm>
            <a:off x="0" y="1"/>
            <a:ext cx="12192000" cy="1475273"/>
          </a:xfrm>
          <a:prstGeom prst="rect">
            <a:avLst/>
          </a:prstGeom>
          <a:solidFill>
            <a:srgbClr val="1D3880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6" name="Picture 135">
            <a:extLst>
              <a:ext uri="{FF2B5EF4-FFF2-40B4-BE49-F238E27FC236}">
                <a16:creationId xmlns:a16="http://schemas.microsoft.com/office/drawing/2014/main" id="{F59F0E29-A8B0-469E-85B4-66652E149CD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6" t="48168" r="984" b="33433"/>
          <a:stretch/>
        </p:blipFill>
        <p:spPr>
          <a:xfrm>
            <a:off x="43315" y="-8485"/>
            <a:ext cx="12148685" cy="1503700"/>
          </a:xfrm>
          <a:prstGeom prst="rect">
            <a:avLst/>
          </a:prstGeom>
        </p:spPr>
      </p:pic>
      <p:sp>
        <p:nvSpPr>
          <p:cNvPr id="137" name="TextBox 16">
            <a:extLst>
              <a:ext uri="{FF2B5EF4-FFF2-40B4-BE49-F238E27FC236}">
                <a16:creationId xmlns:a16="http://schemas.microsoft.com/office/drawing/2014/main" id="{C0127670-E626-445F-930E-9E44C37BE878}"/>
              </a:ext>
            </a:extLst>
          </p:cNvPr>
          <p:cNvSpPr txBox="1"/>
          <p:nvPr/>
        </p:nvSpPr>
        <p:spPr>
          <a:xfrm>
            <a:off x="607349" y="914614"/>
            <a:ext cx="11541336" cy="2373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 Black" panose="020B0A03030202060203" pitchFamily="34" charset="0"/>
              </a:rPr>
              <a:t>LE RIFORME DEL PIANO</a:t>
            </a:r>
          </a:p>
        </p:txBody>
      </p:sp>
      <p:sp>
        <p:nvSpPr>
          <p:cNvPr id="12" name="Rettangolo 8">
            <a:extLst>
              <a:ext uri="{FF2B5EF4-FFF2-40B4-BE49-F238E27FC236}">
                <a16:creationId xmlns:a16="http://schemas.microsoft.com/office/drawing/2014/main" id="{282C3D70-DB65-4F75-BD55-1248494DB8A6}"/>
              </a:ext>
            </a:extLst>
          </p:cNvPr>
          <p:cNvSpPr/>
          <p:nvPr/>
        </p:nvSpPr>
        <p:spPr>
          <a:xfrm>
            <a:off x="344948" y="1752115"/>
            <a:ext cx="782608" cy="782608"/>
          </a:xfrm>
          <a:prstGeom prst="rect">
            <a:avLst/>
          </a:prstGeom>
          <a:solidFill>
            <a:srgbClr val="476D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srgbClr val="0A2542">
                  <a:lumMod val="85000"/>
                  <a:lumOff val="15000"/>
                </a:srgbClr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13" name="Rettangolo 10">
            <a:extLst>
              <a:ext uri="{FF2B5EF4-FFF2-40B4-BE49-F238E27FC236}">
                <a16:creationId xmlns:a16="http://schemas.microsoft.com/office/drawing/2014/main" id="{11366DF1-7953-49C5-A6D7-92F4C05421C2}"/>
              </a:ext>
            </a:extLst>
          </p:cNvPr>
          <p:cNvSpPr/>
          <p:nvPr/>
        </p:nvSpPr>
        <p:spPr>
          <a:xfrm>
            <a:off x="1283563" y="1769859"/>
            <a:ext cx="2160000" cy="782608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RIFORME 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srgbClr val="476DB6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ORIZZONTALI</a:t>
            </a:r>
          </a:p>
        </p:txBody>
      </p:sp>
      <p:sp>
        <p:nvSpPr>
          <p:cNvPr id="14" name="Rettangolo 46">
            <a:extLst>
              <a:ext uri="{FF2B5EF4-FFF2-40B4-BE49-F238E27FC236}">
                <a16:creationId xmlns:a16="http://schemas.microsoft.com/office/drawing/2014/main" id="{23AA7FDB-34C2-4A8A-97F0-DADEF10CBF39}"/>
              </a:ext>
            </a:extLst>
          </p:cNvPr>
          <p:cNvSpPr/>
          <p:nvPr/>
        </p:nvSpPr>
        <p:spPr>
          <a:xfrm>
            <a:off x="1307321" y="2672101"/>
            <a:ext cx="2399601" cy="130811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Riforme di </a:t>
            </a:r>
            <a:r>
              <a:rPr kumimoji="0" lang="it-IT" sz="14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natura trasversale </a:t>
            </a:r>
            <a:r>
              <a:rPr kumimoji="0" lang="it-IT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al Sistema economico e sociale del Paese quali ad esempio le </a:t>
            </a:r>
            <a:r>
              <a:rPr kumimoji="0" lang="it-IT" sz="1400" b="1" i="0" u="none" strike="noStrike" kern="1200" cap="none" spc="-5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riforme della Pubblica Amministrazione</a:t>
            </a:r>
            <a:r>
              <a:rPr kumimoji="0" lang="it-IT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e </a:t>
            </a:r>
            <a:r>
              <a:rPr kumimoji="0" lang="it-IT" sz="1400" b="1" i="0" u="none" strike="noStrike" kern="1200" cap="none" spc="-5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della Giustizia.</a:t>
            </a:r>
          </a:p>
        </p:txBody>
      </p:sp>
      <p:sp>
        <p:nvSpPr>
          <p:cNvPr id="15" name="Rettangolo 12">
            <a:extLst>
              <a:ext uri="{FF2B5EF4-FFF2-40B4-BE49-F238E27FC236}">
                <a16:creationId xmlns:a16="http://schemas.microsoft.com/office/drawing/2014/main" id="{0C3EBC0B-3908-41DB-876D-11FC12F37631}"/>
              </a:ext>
            </a:extLst>
          </p:cNvPr>
          <p:cNvSpPr/>
          <p:nvPr/>
        </p:nvSpPr>
        <p:spPr>
          <a:xfrm>
            <a:off x="4095682" y="1752115"/>
            <a:ext cx="782608" cy="782608"/>
          </a:xfrm>
          <a:prstGeom prst="rect">
            <a:avLst/>
          </a:prstGeom>
          <a:solidFill>
            <a:srgbClr val="476D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srgbClr val="0A2542">
                  <a:lumMod val="85000"/>
                  <a:lumOff val="15000"/>
                </a:srgbClr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16" name="Rettangolo 13">
            <a:extLst>
              <a:ext uri="{FF2B5EF4-FFF2-40B4-BE49-F238E27FC236}">
                <a16:creationId xmlns:a16="http://schemas.microsoft.com/office/drawing/2014/main" id="{B374BC1A-4F08-4C90-99E2-93C7C36E63AF}"/>
              </a:ext>
            </a:extLst>
          </p:cNvPr>
          <p:cNvSpPr/>
          <p:nvPr/>
        </p:nvSpPr>
        <p:spPr>
          <a:xfrm>
            <a:off x="5034297" y="1763406"/>
            <a:ext cx="2160000" cy="782608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/>
          <a:p>
            <a:r>
              <a:rPr lang="it-IT" sz="2400" b="1">
                <a:solidFill>
                  <a:srgbClr val="476DB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RIFORME </a:t>
            </a:r>
          </a:p>
          <a:p>
            <a:r>
              <a:rPr lang="it-IT" sz="2400" b="1">
                <a:solidFill>
                  <a:srgbClr val="476DB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ABILITANTI</a:t>
            </a:r>
          </a:p>
        </p:txBody>
      </p:sp>
      <p:sp>
        <p:nvSpPr>
          <p:cNvPr id="17" name="Rettangolo 15">
            <a:extLst>
              <a:ext uri="{FF2B5EF4-FFF2-40B4-BE49-F238E27FC236}">
                <a16:creationId xmlns:a16="http://schemas.microsoft.com/office/drawing/2014/main" id="{06F39E87-6D92-4E09-BADA-980B028B2463}"/>
              </a:ext>
            </a:extLst>
          </p:cNvPr>
          <p:cNvSpPr/>
          <p:nvPr/>
        </p:nvSpPr>
        <p:spPr>
          <a:xfrm>
            <a:off x="8254226" y="1752115"/>
            <a:ext cx="782608" cy="782608"/>
          </a:xfrm>
          <a:prstGeom prst="rect">
            <a:avLst/>
          </a:prstGeom>
          <a:solidFill>
            <a:srgbClr val="476D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>
              <a:ln>
                <a:noFill/>
              </a:ln>
              <a:solidFill>
                <a:srgbClr val="0A2542">
                  <a:lumMod val="85000"/>
                  <a:lumOff val="15000"/>
                </a:srgbClr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18" name="Rettangolo 16">
            <a:extLst>
              <a:ext uri="{FF2B5EF4-FFF2-40B4-BE49-F238E27FC236}">
                <a16:creationId xmlns:a16="http://schemas.microsoft.com/office/drawing/2014/main" id="{2F6A7D03-141D-45B9-A876-0A56E5327745}"/>
              </a:ext>
            </a:extLst>
          </p:cNvPr>
          <p:cNvSpPr/>
          <p:nvPr/>
        </p:nvSpPr>
        <p:spPr>
          <a:xfrm>
            <a:off x="9192841" y="1763406"/>
            <a:ext cx="2160000" cy="782608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/>
          <a:p>
            <a:r>
              <a:rPr lang="it-IT" sz="2400" b="1">
                <a:solidFill>
                  <a:srgbClr val="476DB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RIFORME </a:t>
            </a:r>
          </a:p>
          <a:p>
            <a:r>
              <a:rPr lang="it-IT" sz="2400" b="1">
                <a:solidFill>
                  <a:srgbClr val="476DB6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SETTORIALI</a:t>
            </a:r>
          </a:p>
        </p:txBody>
      </p:sp>
      <p:sp>
        <p:nvSpPr>
          <p:cNvPr id="19" name="Rettangolo 46">
            <a:extLst>
              <a:ext uri="{FF2B5EF4-FFF2-40B4-BE49-F238E27FC236}">
                <a16:creationId xmlns:a16="http://schemas.microsoft.com/office/drawing/2014/main" id="{1B4E0311-880A-4040-9011-5B1D42049401}"/>
              </a:ext>
            </a:extLst>
          </p:cNvPr>
          <p:cNvSpPr/>
          <p:nvPr/>
        </p:nvSpPr>
        <p:spPr>
          <a:xfrm>
            <a:off x="9096619" y="2672101"/>
            <a:ext cx="2639561" cy="29249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kumimoji="0" lang="it-IT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Riforme specifiche di </a:t>
            </a:r>
            <a:r>
              <a:rPr kumimoji="0" lang="it-IT" sz="1400" b="1" i="0" u="none" strike="noStrike" kern="1200" cap="none" spc="-5" normalizeH="0" baseline="0" noProof="0" dirty="0">
                <a:ln>
                  <a:noFill/>
                </a:ln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natura settoriale </a:t>
            </a:r>
            <a:r>
              <a:rPr kumimoji="0" lang="it-IT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definite all’interno delle diverse Missioni del Piano. </a:t>
            </a:r>
          </a:p>
          <a:p>
            <a:pPr>
              <a:lnSpc>
                <a:spcPct val="110000"/>
              </a:lnSpc>
              <a:defRPr/>
            </a:pPr>
            <a:r>
              <a:rPr kumimoji="0" lang="it-IT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Esempi - </a:t>
            </a:r>
            <a:r>
              <a:rPr kumimoji="0" lang="it-IT" sz="1400" b="1" i="0" u="none" strike="noStrike" kern="1200" cap="none" spc="-5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L</a:t>
            </a:r>
            <a:r>
              <a:rPr lang="it-IT" sz="1400" b="1" spc="-5" dirty="0" err="1">
                <a:solidFill>
                  <a:schemeClr val="bg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avoro</a:t>
            </a:r>
            <a:r>
              <a:rPr lang="it-IT" sz="1400" b="1" spc="-5" dirty="0">
                <a:solidFill>
                  <a:schemeClr val="bg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, politiche sociali e famiglie </a:t>
            </a:r>
          </a:p>
          <a:p>
            <a:pPr>
              <a:lnSpc>
                <a:spcPct val="110000"/>
              </a:lnSpc>
              <a:defRPr/>
            </a:pPr>
            <a:r>
              <a:rPr lang="it-IT" sz="1400" b="1" spc="-5" dirty="0">
                <a:solidFill>
                  <a:schemeClr val="bg2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Istruzione, università e ricerca </a:t>
            </a:r>
            <a:r>
              <a:rPr lang="it-IT" sz="1400" spc="-5" dirty="0">
                <a:solidFill>
                  <a:prstClr val="black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Trasporti, </a:t>
            </a:r>
          </a:p>
          <a:p>
            <a:pPr>
              <a:lnSpc>
                <a:spcPct val="110000"/>
              </a:lnSpc>
              <a:defRPr/>
            </a:pPr>
            <a:r>
              <a:rPr lang="it-IT" sz="1400" spc="-5" dirty="0">
                <a:solidFill>
                  <a:prstClr val="black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Ambiente ed energia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1800" b="1" dirty="0">
              <a:solidFill>
                <a:srgbClr val="595959"/>
              </a:solidFill>
              <a:effectLst/>
              <a:latin typeface="Graphik" panose="020B0503030202060203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Bef>
                <a:spcPts val="2000"/>
              </a:spcBef>
              <a:spcAft>
                <a:spcPts val="700"/>
              </a:spcAft>
            </a:pPr>
            <a:endParaRPr lang="it-IT" sz="1800" b="1" dirty="0">
              <a:solidFill>
                <a:srgbClr val="595959"/>
              </a:solidFill>
              <a:effectLst/>
              <a:latin typeface="Graphik" panose="020B0503030202060203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Bef>
                <a:spcPts val="2000"/>
              </a:spcBef>
              <a:spcAft>
                <a:spcPts val="700"/>
              </a:spcAft>
            </a:pPr>
            <a:endParaRPr lang="it-IT" sz="1400" b="1" dirty="0">
              <a:solidFill>
                <a:srgbClr val="595959"/>
              </a:solidFill>
              <a:effectLst/>
              <a:latin typeface="Graphik" panose="020B0503030202060203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-5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pic>
        <p:nvPicPr>
          <p:cNvPr id="20" name="Immagine 27">
            <a:extLst>
              <a:ext uri="{FF2B5EF4-FFF2-40B4-BE49-F238E27FC236}">
                <a16:creationId xmlns:a16="http://schemas.microsoft.com/office/drawing/2014/main" id="{9794F051-C4A2-482A-A57E-ECDB36AB45E7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25000"/>
          </a:blip>
          <a:stretch>
            <a:fillRect/>
          </a:stretch>
        </p:blipFill>
        <p:spPr>
          <a:xfrm>
            <a:off x="8383444" y="1882059"/>
            <a:ext cx="522720" cy="522720"/>
          </a:xfrm>
          <a:prstGeom prst="rect">
            <a:avLst/>
          </a:prstGeom>
        </p:spPr>
      </p:pic>
      <p:pic>
        <p:nvPicPr>
          <p:cNvPr id="21" name="Immagine 26">
            <a:extLst>
              <a:ext uri="{FF2B5EF4-FFF2-40B4-BE49-F238E27FC236}">
                <a16:creationId xmlns:a16="http://schemas.microsoft.com/office/drawing/2014/main" id="{E43615AA-BBE5-48C9-A207-C7D4EE13A8A0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4215110" y="1904438"/>
            <a:ext cx="543750" cy="543750"/>
          </a:xfrm>
          <a:prstGeom prst="rect">
            <a:avLst/>
          </a:prstGeom>
        </p:spPr>
      </p:pic>
      <p:grpSp>
        <p:nvGrpSpPr>
          <p:cNvPr id="22" name="Group 154">
            <a:extLst>
              <a:ext uri="{FF2B5EF4-FFF2-40B4-BE49-F238E27FC236}">
                <a16:creationId xmlns:a16="http://schemas.microsoft.com/office/drawing/2014/main" id="{2E5BE0DB-BCE4-49D2-9A2F-A29CC1B47F5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2593" y="1892242"/>
            <a:ext cx="486971" cy="486971"/>
            <a:chOff x="5508" y="1723"/>
            <a:chExt cx="426" cy="426"/>
          </a:xfrm>
          <a:solidFill>
            <a:srgbClr val="FFFFFF"/>
          </a:solidFill>
        </p:grpSpPr>
        <p:sp>
          <p:nvSpPr>
            <p:cNvPr id="23" name="Freeform 155">
              <a:extLst>
                <a:ext uri="{FF2B5EF4-FFF2-40B4-BE49-F238E27FC236}">
                  <a16:creationId xmlns:a16="http://schemas.microsoft.com/office/drawing/2014/main" id="{8D2C23B4-1609-4449-9083-BC9D7DB7A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" y="1777"/>
              <a:ext cx="204" cy="337"/>
            </a:xfrm>
            <a:custGeom>
              <a:avLst/>
              <a:gdLst>
                <a:gd name="T0" fmla="*/ 132 w 138"/>
                <a:gd name="T1" fmla="*/ 228 h 228"/>
                <a:gd name="T2" fmla="*/ 30 w 138"/>
                <a:gd name="T3" fmla="*/ 228 h 228"/>
                <a:gd name="T4" fmla="*/ 0 w 138"/>
                <a:gd name="T5" fmla="*/ 198 h 228"/>
                <a:gd name="T6" fmla="*/ 0 w 138"/>
                <a:gd name="T7" fmla="*/ 6 h 228"/>
                <a:gd name="T8" fmla="*/ 6 w 138"/>
                <a:gd name="T9" fmla="*/ 0 h 228"/>
                <a:gd name="T10" fmla="*/ 54 w 138"/>
                <a:gd name="T11" fmla="*/ 0 h 228"/>
                <a:gd name="T12" fmla="*/ 60 w 138"/>
                <a:gd name="T13" fmla="*/ 6 h 228"/>
                <a:gd name="T14" fmla="*/ 54 w 138"/>
                <a:gd name="T15" fmla="*/ 12 h 228"/>
                <a:gd name="T16" fmla="*/ 12 w 138"/>
                <a:gd name="T17" fmla="*/ 12 h 228"/>
                <a:gd name="T18" fmla="*/ 12 w 138"/>
                <a:gd name="T19" fmla="*/ 198 h 228"/>
                <a:gd name="T20" fmla="*/ 30 w 138"/>
                <a:gd name="T21" fmla="*/ 216 h 228"/>
                <a:gd name="T22" fmla="*/ 132 w 138"/>
                <a:gd name="T23" fmla="*/ 216 h 228"/>
                <a:gd name="T24" fmla="*/ 138 w 138"/>
                <a:gd name="T25" fmla="*/ 222 h 228"/>
                <a:gd name="T26" fmla="*/ 132 w 138"/>
                <a:gd name="T27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8" h="228">
                  <a:moveTo>
                    <a:pt x="132" y="228"/>
                  </a:moveTo>
                  <a:cubicBezTo>
                    <a:pt x="30" y="228"/>
                    <a:pt x="30" y="228"/>
                    <a:pt x="30" y="228"/>
                  </a:cubicBezTo>
                  <a:cubicBezTo>
                    <a:pt x="13" y="228"/>
                    <a:pt x="0" y="215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8"/>
                    <a:pt x="12" y="198"/>
                    <a:pt x="12" y="198"/>
                  </a:cubicBezTo>
                  <a:cubicBezTo>
                    <a:pt x="12" y="208"/>
                    <a:pt x="20" y="216"/>
                    <a:pt x="30" y="216"/>
                  </a:cubicBezTo>
                  <a:cubicBezTo>
                    <a:pt x="132" y="216"/>
                    <a:pt x="132" y="216"/>
                    <a:pt x="132" y="216"/>
                  </a:cubicBezTo>
                  <a:cubicBezTo>
                    <a:pt x="135" y="216"/>
                    <a:pt x="138" y="219"/>
                    <a:pt x="138" y="222"/>
                  </a:cubicBezTo>
                  <a:cubicBezTo>
                    <a:pt x="138" y="226"/>
                    <a:pt x="135" y="228"/>
                    <a:pt x="132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24" name="Freeform 156">
              <a:extLst>
                <a:ext uri="{FF2B5EF4-FFF2-40B4-BE49-F238E27FC236}">
                  <a16:creationId xmlns:a16="http://schemas.microsoft.com/office/drawing/2014/main" id="{D69BF79B-D104-4BA2-88EF-9D15CAC09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" y="1812"/>
              <a:ext cx="143" cy="266"/>
            </a:xfrm>
            <a:custGeom>
              <a:avLst/>
              <a:gdLst>
                <a:gd name="T0" fmla="*/ 90 w 96"/>
                <a:gd name="T1" fmla="*/ 180 h 180"/>
                <a:gd name="T2" fmla="*/ 6 w 96"/>
                <a:gd name="T3" fmla="*/ 180 h 180"/>
                <a:gd name="T4" fmla="*/ 0 w 96"/>
                <a:gd name="T5" fmla="*/ 174 h 180"/>
                <a:gd name="T6" fmla="*/ 0 w 96"/>
                <a:gd name="T7" fmla="*/ 6 h 180"/>
                <a:gd name="T8" fmla="*/ 6 w 96"/>
                <a:gd name="T9" fmla="*/ 0 h 180"/>
                <a:gd name="T10" fmla="*/ 30 w 96"/>
                <a:gd name="T11" fmla="*/ 0 h 180"/>
                <a:gd name="T12" fmla="*/ 36 w 96"/>
                <a:gd name="T13" fmla="*/ 6 h 180"/>
                <a:gd name="T14" fmla="*/ 30 w 96"/>
                <a:gd name="T15" fmla="*/ 12 h 180"/>
                <a:gd name="T16" fmla="*/ 12 w 96"/>
                <a:gd name="T17" fmla="*/ 12 h 180"/>
                <a:gd name="T18" fmla="*/ 12 w 96"/>
                <a:gd name="T19" fmla="*/ 168 h 180"/>
                <a:gd name="T20" fmla="*/ 90 w 96"/>
                <a:gd name="T21" fmla="*/ 168 h 180"/>
                <a:gd name="T22" fmla="*/ 96 w 96"/>
                <a:gd name="T23" fmla="*/ 174 h 180"/>
                <a:gd name="T24" fmla="*/ 90 w 96"/>
                <a:gd name="T25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80">
                  <a:moveTo>
                    <a:pt x="90" y="180"/>
                  </a:moveTo>
                  <a:cubicBezTo>
                    <a:pt x="6" y="180"/>
                    <a:pt x="6" y="180"/>
                    <a:pt x="6" y="180"/>
                  </a:cubicBezTo>
                  <a:cubicBezTo>
                    <a:pt x="2" y="180"/>
                    <a:pt x="0" y="178"/>
                    <a:pt x="0" y="17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6" y="3"/>
                    <a:pt x="36" y="6"/>
                  </a:cubicBezTo>
                  <a:cubicBezTo>
                    <a:pt x="36" y="10"/>
                    <a:pt x="33" y="12"/>
                    <a:pt x="3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68"/>
                    <a:pt x="12" y="168"/>
                    <a:pt x="12" y="168"/>
                  </a:cubicBezTo>
                  <a:cubicBezTo>
                    <a:pt x="90" y="168"/>
                    <a:pt x="90" y="168"/>
                    <a:pt x="90" y="168"/>
                  </a:cubicBezTo>
                  <a:cubicBezTo>
                    <a:pt x="93" y="168"/>
                    <a:pt x="96" y="171"/>
                    <a:pt x="96" y="174"/>
                  </a:cubicBezTo>
                  <a:cubicBezTo>
                    <a:pt x="96" y="178"/>
                    <a:pt x="93" y="180"/>
                    <a:pt x="90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25" name="Freeform 157">
              <a:extLst>
                <a:ext uri="{FF2B5EF4-FFF2-40B4-BE49-F238E27FC236}">
                  <a16:creationId xmlns:a16="http://schemas.microsoft.com/office/drawing/2014/main" id="{A032AE05-D132-4D1B-9661-2E88ED6FD9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" y="1777"/>
              <a:ext cx="89" cy="212"/>
            </a:xfrm>
            <a:custGeom>
              <a:avLst/>
              <a:gdLst>
                <a:gd name="T0" fmla="*/ 54 w 60"/>
                <a:gd name="T1" fmla="*/ 144 h 144"/>
                <a:gd name="T2" fmla="*/ 48 w 60"/>
                <a:gd name="T3" fmla="*/ 138 h 144"/>
                <a:gd name="T4" fmla="*/ 48 w 60"/>
                <a:gd name="T5" fmla="*/ 12 h 144"/>
                <a:gd name="T6" fmla="*/ 6 w 60"/>
                <a:gd name="T7" fmla="*/ 12 h 144"/>
                <a:gd name="T8" fmla="*/ 0 w 60"/>
                <a:gd name="T9" fmla="*/ 6 h 144"/>
                <a:gd name="T10" fmla="*/ 6 w 60"/>
                <a:gd name="T11" fmla="*/ 0 h 144"/>
                <a:gd name="T12" fmla="*/ 54 w 60"/>
                <a:gd name="T13" fmla="*/ 0 h 144"/>
                <a:gd name="T14" fmla="*/ 60 w 60"/>
                <a:gd name="T15" fmla="*/ 6 h 144"/>
                <a:gd name="T16" fmla="*/ 60 w 60"/>
                <a:gd name="T17" fmla="*/ 138 h 144"/>
                <a:gd name="T18" fmla="*/ 54 w 60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144">
                  <a:moveTo>
                    <a:pt x="54" y="144"/>
                  </a:moveTo>
                  <a:cubicBezTo>
                    <a:pt x="50" y="144"/>
                    <a:pt x="48" y="142"/>
                    <a:pt x="48" y="138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38"/>
                    <a:pt x="60" y="138"/>
                    <a:pt x="60" y="138"/>
                  </a:cubicBezTo>
                  <a:cubicBezTo>
                    <a:pt x="60" y="142"/>
                    <a:pt x="57" y="144"/>
                    <a:pt x="54" y="1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26" name="Freeform 158">
              <a:extLst>
                <a:ext uri="{FF2B5EF4-FFF2-40B4-BE49-F238E27FC236}">
                  <a16:creationId xmlns:a16="http://schemas.microsoft.com/office/drawing/2014/main" id="{9BDD2937-FF36-474A-86F7-229013C33B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79" y="1723"/>
              <a:ext cx="160" cy="125"/>
            </a:xfrm>
            <a:custGeom>
              <a:avLst/>
              <a:gdLst>
                <a:gd name="T0" fmla="*/ 102 w 108"/>
                <a:gd name="T1" fmla="*/ 84 h 84"/>
                <a:gd name="T2" fmla="*/ 6 w 108"/>
                <a:gd name="T3" fmla="*/ 84 h 84"/>
                <a:gd name="T4" fmla="*/ 0 w 108"/>
                <a:gd name="T5" fmla="*/ 78 h 84"/>
                <a:gd name="T6" fmla="*/ 0 w 108"/>
                <a:gd name="T7" fmla="*/ 30 h 84"/>
                <a:gd name="T8" fmla="*/ 6 w 108"/>
                <a:gd name="T9" fmla="*/ 24 h 84"/>
                <a:gd name="T10" fmla="*/ 24 w 108"/>
                <a:gd name="T11" fmla="*/ 24 h 84"/>
                <a:gd name="T12" fmla="*/ 54 w 108"/>
                <a:gd name="T13" fmla="*/ 0 h 84"/>
                <a:gd name="T14" fmla="*/ 83 w 108"/>
                <a:gd name="T15" fmla="*/ 24 h 84"/>
                <a:gd name="T16" fmla="*/ 102 w 108"/>
                <a:gd name="T17" fmla="*/ 24 h 84"/>
                <a:gd name="T18" fmla="*/ 108 w 108"/>
                <a:gd name="T19" fmla="*/ 30 h 84"/>
                <a:gd name="T20" fmla="*/ 108 w 108"/>
                <a:gd name="T21" fmla="*/ 78 h 84"/>
                <a:gd name="T22" fmla="*/ 102 w 108"/>
                <a:gd name="T23" fmla="*/ 84 h 84"/>
                <a:gd name="T24" fmla="*/ 12 w 108"/>
                <a:gd name="T25" fmla="*/ 72 h 84"/>
                <a:gd name="T26" fmla="*/ 96 w 108"/>
                <a:gd name="T27" fmla="*/ 72 h 84"/>
                <a:gd name="T28" fmla="*/ 96 w 108"/>
                <a:gd name="T29" fmla="*/ 36 h 84"/>
                <a:gd name="T30" fmla="*/ 78 w 108"/>
                <a:gd name="T31" fmla="*/ 36 h 84"/>
                <a:gd name="T32" fmla="*/ 72 w 108"/>
                <a:gd name="T33" fmla="*/ 30 h 84"/>
                <a:gd name="T34" fmla="*/ 54 w 108"/>
                <a:gd name="T35" fmla="*/ 12 h 84"/>
                <a:gd name="T36" fmla="*/ 36 w 108"/>
                <a:gd name="T37" fmla="*/ 30 h 84"/>
                <a:gd name="T38" fmla="*/ 30 w 108"/>
                <a:gd name="T39" fmla="*/ 36 h 84"/>
                <a:gd name="T40" fmla="*/ 12 w 108"/>
                <a:gd name="T41" fmla="*/ 36 h 84"/>
                <a:gd name="T42" fmla="*/ 12 w 108"/>
                <a:gd name="T43" fmla="*/ 72 h 84"/>
                <a:gd name="T44" fmla="*/ 84 w 108"/>
                <a:gd name="T45" fmla="*/ 30 h 84"/>
                <a:gd name="T46" fmla="*/ 84 w 108"/>
                <a:gd name="T47" fmla="*/ 3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8" h="84">
                  <a:moveTo>
                    <a:pt x="102" y="84"/>
                  </a:moveTo>
                  <a:cubicBezTo>
                    <a:pt x="6" y="84"/>
                    <a:pt x="6" y="84"/>
                    <a:pt x="6" y="84"/>
                  </a:cubicBezTo>
                  <a:cubicBezTo>
                    <a:pt x="2" y="84"/>
                    <a:pt x="0" y="82"/>
                    <a:pt x="0" y="7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27"/>
                    <a:pt x="2" y="24"/>
                    <a:pt x="6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6" y="12"/>
                    <a:pt x="36" y="0"/>
                    <a:pt x="54" y="0"/>
                  </a:cubicBezTo>
                  <a:cubicBezTo>
                    <a:pt x="71" y="0"/>
                    <a:pt x="81" y="12"/>
                    <a:pt x="83" y="24"/>
                  </a:cubicBezTo>
                  <a:cubicBezTo>
                    <a:pt x="102" y="24"/>
                    <a:pt x="102" y="24"/>
                    <a:pt x="102" y="24"/>
                  </a:cubicBezTo>
                  <a:cubicBezTo>
                    <a:pt x="105" y="24"/>
                    <a:pt x="108" y="27"/>
                    <a:pt x="108" y="30"/>
                  </a:cubicBezTo>
                  <a:cubicBezTo>
                    <a:pt x="108" y="78"/>
                    <a:pt x="108" y="78"/>
                    <a:pt x="108" y="78"/>
                  </a:cubicBezTo>
                  <a:cubicBezTo>
                    <a:pt x="108" y="82"/>
                    <a:pt x="105" y="84"/>
                    <a:pt x="102" y="84"/>
                  </a:cubicBezTo>
                  <a:close/>
                  <a:moveTo>
                    <a:pt x="12" y="72"/>
                  </a:moveTo>
                  <a:cubicBezTo>
                    <a:pt x="96" y="72"/>
                    <a:pt x="96" y="72"/>
                    <a:pt x="96" y="72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78" y="36"/>
                    <a:pt x="78" y="36"/>
                    <a:pt x="78" y="36"/>
                  </a:cubicBezTo>
                  <a:cubicBezTo>
                    <a:pt x="74" y="36"/>
                    <a:pt x="72" y="34"/>
                    <a:pt x="72" y="30"/>
                  </a:cubicBezTo>
                  <a:cubicBezTo>
                    <a:pt x="72" y="29"/>
                    <a:pt x="71" y="12"/>
                    <a:pt x="54" y="12"/>
                  </a:cubicBezTo>
                  <a:cubicBezTo>
                    <a:pt x="36" y="12"/>
                    <a:pt x="36" y="29"/>
                    <a:pt x="36" y="30"/>
                  </a:cubicBezTo>
                  <a:cubicBezTo>
                    <a:pt x="36" y="34"/>
                    <a:pt x="33" y="36"/>
                    <a:pt x="30" y="36"/>
                  </a:cubicBezTo>
                  <a:cubicBezTo>
                    <a:pt x="12" y="36"/>
                    <a:pt x="12" y="36"/>
                    <a:pt x="12" y="36"/>
                  </a:cubicBezTo>
                  <a:lnTo>
                    <a:pt x="12" y="72"/>
                  </a:lnTo>
                  <a:close/>
                  <a:moveTo>
                    <a:pt x="84" y="30"/>
                  </a:moveTo>
                  <a:cubicBezTo>
                    <a:pt x="84" y="30"/>
                    <a:pt x="84" y="30"/>
                    <a:pt x="84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27" name="Freeform 159">
              <a:extLst>
                <a:ext uri="{FF2B5EF4-FFF2-40B4-BE49-F238E27FC236}">
                  <a16:creationId xmlns:a16="http://schemas.microsoft.com/office/drawing/2014/main" id="{F8E48EB9-6EF7-48B8-82D8-D8BAC3264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" y="1812"/>
              <a:ext cx="53" cy="177"/>
            </a:xfrm>
            <a:custGeom>
              <a:avLst/>
              <a:gdLst>
                <a:gd name="T0" fmla="*/ 30 w 36"/>
                <a:gd name="T1" fmla="*/ 120 h 120"/>
                <a:gd name="T2" fmla="*/ 24 w 36"/>
                <a:gd name="T3" fmla="*/ 114 h 120"/>
                <a:gd name="T4" fmla="*/ 24 w 36"/>
                <a:gd name="T5" fmla="*/ 12 h 120"/>
                <a:gd name="T6" fmla="*/ 6 w 36"/>
                <a:gd name="T7" fmla="*/ 12 h 120"/>
                <a:gd name="T8" fmla="*/ 0 w 36"/>
                <a:gd name="T9" fmla="*/ 6 h 120"/>
                <a:gd name="T10" fmla="*/ 6 w 36"/>
                <a:gd name="T11" fmla="*/ 0 h 120"/>
                <a:gd name="T12" fmla="*/ 30 w 36"/>
                <a:gd name="T13" fmla="*/ 0 h 120"/>
                <a:gd name="T14" fmla="*/ 36 w 36"/>
                <a:gd name="T15" fmla="*/ 6 h 120"/>
                <a:gd name="T16" fmla="*/ 36 w 36"/>
                <a:gd name="T17" fmla="*/ 114 h 120"/>
                <a:gd name="T18" fmla="*/ 30 w 36"/>
                <a:gd name="T1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120">
                  <a:moveTo>
                    <a:pt x="30" y="120"/>
                  </a:moveTo>
                  <a:cubicBezTo>
                    <a:pt x="26" y="120"/>
                    <a:pt x="24" y="118"/>
                    <a:pt x="24" y="114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6" y="3"/>
                    <a:pt x="36" y="6"/>
                  </a:cubicBezTo>
                  <a:cubicBezTo>
                    <a:pt x="36" y="114"/>
                    <a:pt x="36" y="114"/>
                    <a:pt x="36" y="114"/>
                  </a:cubicBezTo>
                  <a:cubicBezTo>
                    <a:pt x="36" y="118"/>
                    <a:pt x="33" y="120"/>
                    <a:pt x="30" y="1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29" name="Freeform 160">
              <a:extLst>
                <a:ext uri="{FF2B5EF4-FFF2-40B4-BE49-F238E27FC236}">
                  <a16:creationId xmlns:a16="http://schemas.microsoft.com/office/drawing/2014/main" id="{87136CC0-22E4-418F-B859-3358422C5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7" y="1883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10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30" name="Freeform 161">
              <a:extLst>
                <a:ext uri="{FF2B5EF4-FFF2-40B4-BE49-F238E27FC236}">
                  <a16:creationId xmlns:a16="http://schemas.microsoft.com/office/drawing/2014/main" id="{45C14FA3-FA02-45F2-96F3-E663AAEB03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7" y="1918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10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32" name="Freeform 162">
              <a:extLst>
                <a:ext uri="{FF2B5EF4-FFF2-40B4-BE49-F238E27FC236}">
                  <a16:creationId xmlns:a16="http://schemas.microsoft.com/office/drawing/2014/main" id="{CC11C2A3-BB14-48A9-8A75-CEA006B80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7" y="1954"/>
              <a:ext cx="106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10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33" name="Freeform 163">
              <a:extLst>
                <a:ext uri="{FF2B5EF4-FFF2-40B4-BE49-F238E27FC236}">
                  <a16:creationId xmlns:a16="http://schemas.microsoft.com/office/drawing/2014/main" id="{B35D7E89-89CA-4D42-BE12-C5478E7F1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7" y="1989"/>
              <a:ext cx="71" cy="18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3"/>
                    <a:pt x="48" y="6"/>
                  </a:cubicBezTo>
                  <a:cubicBezTo>
                    <a:pt x="48" y="10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34" name="Freeform 164">
              <a:extLst>
                <a:ext uri="{FF2B5EF4-FFF2-40B4-BE49-F238E27FC236}">
                  <a16:creationId xmlns:a16="http://schemas.microsoft.com/office/drawing/2014/main" id="{D0F97F86-6126-48C5-9900-FBA2747E15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5" y="1936"/>
              <a:ext cx="89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7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6" y="0"/>
                    <a:pt x="60" y="14"/>
                    <a:pt x="60" y="30"/>
                  </a:cubicBezTo>
                  <a:cubicBezTo>
                    <a:pt x="60" y="47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1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1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35" name="Freeform 165">
              <a:extLst>
                <a:ext uri="{FF2B5EF4-FFF2-40B4-BE49-F238E27FC236}">
                  <a16:creationId xmlns:a16="http://schemas.microsoft.com/office/drawing/2014/main" id="{0AF9AFB1-58BB-460A-A04F-CB963EAD01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45" y="2060"/>
              <a:ext cx="89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7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6" y="0"/>
                    <a:pt x="60" y="14"/>
                    <a:pt x="60" y="30"/>
                  </a:cubicBezTo>
                  <a:cubicBezTo>
                    <a:pt x="60" y="47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1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1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36" name="Freeform 166">
              <a:extLst>
                <a:ext uri="{FF2B5EF4-FFF2-40B4-BE49-F238E27FC236}">
                  <a16:creationId xmlns:a16="http://schemas.microsoft.com/office/drawing/2014/main" id="{2FB74550-4CBF-4139-869D-780B170A48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3" y="2007"/>
              <a:ext cx="89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7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6" y="0"/>
                    <a:pt x="60" y="14"/>
                    <a:pt x="60" y="30"/>
                  </a:cubicBezTo>
                  <a:cubicBezTo>
                    <a:pt x="60" y="47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1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1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37" name="Freeform 167">
              <a:extLst>
                <a:ext uri="{FF2B5EF4-FFF2-40B4-BE49-F238E27FC236}">
                  <a16:creationId xmlns:a16="http://schemas.microsoft.com/office/drawing/2014/main" id="{0893B854-F4C3-4854-AB3D-158D530FE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8" y="1989"/>
              <a:ext cx="101" cy="57"/>
            </a:xfrm>
            <a:custGeom>
              <a:avLst/>
              <a:gdLst>
                <a:gd name="T0" fmla="*/ 7 w 68"/>
                <a:gd name="T1" fmla="*/ 38 h 38"/>
                <a:gd name="T2" fmla="*/ 2 w 68"/>
                <a:gd name="T3" fmla="*/ 34 h 38"/>
                <a:gd name="T4" fmla="*/ 5 w 68"/>
                <a:gd name="T5" fmla="*/ 26 h 38"/>
                <a:gd name="T6" fmla="*/ 59 w 68"/>
                <a:gd name="T7" fmla="*/ 2 h 38"/>
                <a:gd name="T8" fmla="*/ 67 w 68"/>
                <a:gd name="T9" fmla="*/ 5 h 38"/>
                <a:gd name="T10" fmla="*/ 64 w 68"/>
                <a:gd name="T11" fmla="*/ 13 h 38"/>
                <a:gd name="T12" fmla="*/ 10 w 68"/>
                <a:gd name="T13" fmla="*/ 37 h 38"/>
                <a:gd name="T14" fmla="*/ 7 w 68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" h="38">
                  <a:moveTo>
                    <a:pt x="7" y="38"/>
                  </a:moveTo>
                  <a:cubicBezTo>
                    <a:pt x="5" y="38"/>
                    <a:pt x="3" y="36"/>
                    <a:pt x="2" y="34"/>
                  </a:cubicBezTo>
                  <a:cubicBezTo>
                    <a:pt x="0" y="31"/>
                    <a:pt x="2" y="28"/>
                    <a:pt x="5" y="26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62" y="0"/>
                    <a:pt x="66" y="2"/>
                    <a:pt x="67" y="5"/>
                  </a:cubicBezTo>
                  <a:cubicBezTo>
                    <a:pt x="68" y="8"/>
                    <a:pt x="67" y="11"/>
                    <a:pt x="64" y="13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9" y="38"/>
                    <a:pt x="8" y="38"/>
                    <a:pt x="7" y="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  <p:sp>
          <p:nvSpPr>
            <p:cNvPr id="38" name="Freeform 168">
              <a:extLst>
                <a:ext uri="{FF2B5EF4-FFF2-40B4-BE49-F238E27FC236}">
                  <a16:creationId xmlns:a16="http://schemas.microsoft.com/office/drawing/2014/main" id="{FED24E30-B5DC-42AE-A22E-F643607DD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3" y="2055"/>
              <a:ext cx="96" cy="41"/>
            </a:xfrm>
            <a:custGeom>
              <a:avLst/>
              <a:gdLst>
                <a:gd name="T0" fmla="*/ 58 w 65"/>
                <a:gd name="T1" fmla="*/ 28 h 28"/>
                <a:gd name="T2" fmla="*/ 56 w 65"/>
                <a:gd name="T3" fmla="*/ 28 h 28"/>
                <a:gd name="T4" fmla="*/ 5 w 65"/>
                <a:gd name="T5" fmla="*/ 13 h 28"/>
                <a:gd name="T6" fmla="*/ 1 w 65"/>
                <a:gd name="T7" fmla="*/ 5 h 28"/>
                <a:gd name="T8" fmla="*/ 8 w 65"/>
                <a:gd name="T9" fmla="*/ 1 h 28"/>
                <a:gd name="T10" fmla="*/ 60 w 65"/>
                <a:gd name="T11" fmla="*/ 17 h 28"/>
                <a:gd name="T12" fmla="*/ 64 w 65"/>
                <a:gd name="T13" fmla="*/ 24 h 28"/>
                <a:gd name="T14" fmla="*/ 58 w 65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28">
                  <a:moveTo>
                    <a:pt x="58" y="28"/>
                  </a:moveTo>
                  <a:cubicBezTo>
                    <a:pt x="57" y="28"/>
                    <a:pt x="57" y="28"/>
                    <a:pt x="56" y="2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3" y="18"/>
                    <a:pt x="65" y="21"/>
                    <a:pt x="64" y="24"/>
                  </a:cubicBezTo>
                  <a:cubicBezTo>
                    <a:pt x="63" y="27"/>
                    <a:pt x="60" y="28"/>
                    <a:pt x="5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charset="0"/>
              </a:endParaRPr>
            </a:p>
          </p:txBody>
        </p:sp>
      </p:grpSp>
      <p:sp>
        <p:nvSpPr>
          <p:cNvPr id="39" name="Rettangolo 46">
            <a:extLst>
              <a:ext uri="{FF2B5EF4-FFF2-40B4-BE49-F238E27FC236}">
                <a16:creationId xmlns:a16="http://schemas.microsoft.com/office/drawing/2014/main" id="{9C19EAC8-F231-4F51-842C-938841311CCD}"/>
              </a:ext>
            </a:extLst>
          </p:cNvPr>
          <p:cNvSpPr/>
          <p:nvPr/>
        </p:nvSpPr>
        <p:spPr>
          <a:xfrm>
            <a:off x="4987202" y="2645810"/>
            <a:ext cx="2686246" cy="292491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7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Riforme funzionali </a:t>
            </a:r>
            <a:r>
              <a:rPr kumimoji="0" lang="it-IT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a garantire la piena attuazione del Piano e  rimuovere gli ostacoli amministrativi, regolatori e procedurali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Esempi di tali riforme sono: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1" i="0" u="none" strike="noStrike" kern="1200" cap="none" spc="-5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Norme di semplificazione degli Appalti pubblici</a:t>
            </a:r>
            <a:endParaRPr kumimoji="0" lang="it-IT" sz="1400" b="0" i="0" u="none" strike="noStrike" kern="1200" cap="none" spc="-5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1" i="0" u="none" strike="noStrike" kern="1200" cap="none" spc="-5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Legge sulla concorrenza</a:t>
            </a:r>
            <a:endParaRPr kumimoji="0" lang="it-IT" sz="1400" b="0" i="0" u="none" strike="noStrike" kern="1200" cap="none" spc="-5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Legge delega sulla corruzion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ederalismo fisca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400" b="0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iduzione tempi di pagamento PA e del tax gap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Graphik" panose="020B050303020206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-5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pic>
        <p:nvPicPr>
          <p:cNvPr id="41" name="Picture 40" descr="Logo&#10;&#10;Description automatically generated">
            <a:extLst>
              <a:ext uri="{FF2B5EF4-FFF2-40B4-BE49-F238E27FC236}">
                <a16:creationId xmlns:a16="http://schemas.microsoft.com/office/drawing/2014/main" id="{D0339AE7-210A-48AB-B349-FCD62BFFDB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671803" y="6406830"/>
            <a:ext cx="351082" cy="29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0071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0" y="0"/>
            <a:ext cx="5651913" cy="6879020"/>
          </a:xfrm>
          <a:prstGeom prst="rect">
            <a:avLst/>
          </a:prstGeom>
          <a:solidFill>
            <a:srgbClr val="1D3880"/>
          </a:solidFill>
        </p:spPr>
      </p:sp>
      <p:pic>
        <p:nvPicPr>
          <p:cNvPr id="4098" name="Picture 2" descr="Close-up Photography of European Flag">
            <a:extLst>
              <a:ext uri="{FF2B5EF4-FFF2-40B4-BE49-F238E27FC236}">
                <a16:creationId xmlns:a16="http://schemas.microsoft.com/office/drawing/2014/main" id="{DE23CAF0-63BB-44BB-A0EE-1C6DDCC0D7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69" t="32362" r="2743" b="8333"/>
          <a:stretch/>
        </p:blipFill>
        <p:spPr bwMode="auto">
          <a:xfrm>
            <a:off x="0" y="0"/>
            <a:ext cx="56519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6"/>
          <p:cNvSpPr txBox="1"/>
          <p:nvPr/>
        </p:nvSpPr>
        <p:spPr>
          <a:xfrm>
            <a:off x="5551240" y="555867"/>
            <a:ext cx="6284774" cy="2373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2" normalizeH="0" baseline="0" noProof="0" dirty="0">
                <a:ln>
                  <a:noFill/>
                </a:ln>
                <a:solidFill>
                  <a:srgbClr val="1D3880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PNRR ITALIA: RISORSE</a:t>
            </a:r>
          </a:p>
        </p:txBody>
      </p:sp>
      <p:graphicFrame>
        <p:nvGraphicFramePr>
          <p:cNvPr id="22" name="Chart 37">
            <a:extLst>
              <a:ext uri="{FF2B5EF4-FFF2-40B4-BE49-F238E27FC236}">
                <a16:creationId xmlns:a16="http://schemas.microsoft.com/office/drawing/2014/main" id="{2F995195-6914-40C4-9B18-F26646ABF41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8550279"/>
              </p:ext>
            </p:extLst>
          </p:nvPr>
        </p:nvGraphicFramePr>
        <p:xfrm>
          <a:off x="0" y="2039668"/>
          <a:ext cx="4326344" cy="3118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Rettangolo 41">
            <a:extLst>
              <a:ext uri="{FF2B5EF4-FFF2-40B4-BE49-F238E27FC236}">
                <a16:creationId xmlns:a16="http://schemas.microsoft.com/office/drawing/2014/main" id="{7ACDFA70-54A8-4E49-90A9-2AB767120FEA}"/>
              </a:ext>
            </a:extLst>
          </p:cNvPr>
          <p:cNvSpPr/>
          <p:nvPr/>
        </p:nvSpPr>
        <p:spPr>
          <a:xfrm>
            <a:off x="1933259" y="3067770"/>
            <a:ext cx="161290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4DA2"/>
              </a:buClr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222,1</a:t>
            </a:r>
          </a:p>
        </p:txBody>
      </p:sp>
      <p:sp>
        <p:nvSpPr>
          <p:cNvPr id="24" name="Rettangolo 42">
            <a:extLst>
              <a:ext uri="{FF2B5EF4-FFF2-40B4-BE49-F238E27FC236}">
                <a16:creationId xmlns:a16="http://schemas.microsoft.com/office/drawing/2014/main" id="{CB59D53C-CF28-430E-AE60-F2D8D7BA5369}"/>
              </a:ext>
            </a:extLst>
          </p:cNvPr>
          <p:cNvSpPr/>
          <p:nvPr/>
        </p:nvSpPr>
        <p:spPr>
          <a:xfrm>
            <a:off x="1729033" y="3735736"/>
            <a:ext cx="207215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34DA2"/>
              </a:buClr>
              <a:buSzTx/>
              <a:buFontTx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Mld di €</a:t>
            </a:r>
          </a:p>
        </p:txBody>
      </p:sp>
      <p:sp>
        <p:nvSpPr>
          <p:cNvPr id="25" name="Rectangle 54">
            <a:extLst>
              <a:ext uri="{FF2B5EF4-FFF2-40B4-BE49-F238E27FC236}">
                <a16:creationId xmlns:a16="http://schemas.microsoft.com/office/drawing/2014/main" id="{70FF04CE-DB1D-4AA7-B5E5-380ACA065432}"/>
              </a:ext>
            </a:extLst>
          </p:cNvPr>
          <p:cNvSpPr/>
          <p:nvPr/>
        </p:nvSpPr>
        <p:spPr>
          <a:xfrm>
            <a:off x="770679" y="5581090"/>
            <a:ext cx="3907354" cy="46164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A2542">
                    <a:lumMod val="50000"/>
                    <a:lumOff val="50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Open Sans" panose="020B0606030504020204" pitchFamily="34" charset="0"/>
                <a:cs typeface="Rubik Bold" panose="020B0604020202020204"/>
              </a:rPr>
              <a:t>FONDO NAZIONALE COMPLEMENTARE</a:t>
            </a:r>
          </a:p>
        </p:txBody>
      </p:sp>
      <p:sp>
        <p:nvSpPr>
          <p:cNvPr id="26" name="TextBox 72">
            <a:extLst>
              <a:ext uri="{FF2B5EF4-FFF2-40B4-BE49-F238E27FC236}">
                <a16:creationId xmlns:a16="http://schemas.microsoft.com/office/drawing/2014/main" id="{9547B635-BDF9-42DF-AF97-8D57740E148C}"/>
              </a:ext>
            </a:extLst>
          </p:cNvPr>
          <p:cNvSpPr txBox="1"/>
          <p:nvPr/>
        </p:nvSpPr>
        <p:spPr>
          <a:xfrm>
            <a:off x="1933259" y="5317646"/>
            <a:ext cx="1582195" cy="2769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Open Sans" panose="020B0606030504020204" pitchFamily="34" charset="0"/>
                <a:cs typeface="Rubik Bold" panose="020B0604020202020204"/>
              </a:rPr>
              <a:t>30,6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Mld di €</a:t>
            </a:r>
          </a:p>
        </p:txBody>
      </p:sp>
      <p:sp>
        <p:nvSpPr>
          <p:cNvPr id="27" name="Rectangle 54">
            <a:extLst>
              <a:ext uri="{FF2B5EF4-FFF2-40B4-BE49-F238E27FC236}">
                <a16:creationId xmlns:a16="http://schemas.microsoft.com/office/drawing/2014/main" id="{DD67628F-1B64-44B7-8810-E03BF3A4A3ED}"/>
              </a:ext>
            </a:extLst>
          </p:cNvPr>
          <p:cNvSpPr/>
          <p:nvPr/>
        </p:nvSpPr>
        <p:spPr>
          <a:xfrm>
            <a:off x="496541" y="1363227"/>
            <a:ext cx="4655399" cy="52322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F8C94D"/>
                </a:solidFill>
                <a:effectLst/>
                <a:uLnTx/>
                <a:uFillTx/>
                <a:latin typeface="Graphik" panose="020B0503030202060203" pitchFamily="34" charset="0"/>
                <a:ea typeface="Open Sans" panose="020B0606030504020204" pitchFamily="34" charset="0"/>
                <a:cs typeface="Rubik Bold" panose="020B0604020202020204"/>
              </a:rPr>
              <a:t>DISPOSITIVO DI RIPRESA E RESILIENZA (PNRR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100" b="1" i="0" u="none" strike="noStrike" kern="0" cap="none" spc="0" normalizeH="0" baseline="0" noProof="0" dirty="0">
              <a:ln>
                <a:noFill/>
              </a:ln>
              <a:solidFill>
                <a:srgbClr val="F8C94D"/>
              </a:solidFill>
              <a:effectLst/>
              <a:uLnTx/>
              <a:uFillTx/>
              <a:latin typeface="Graphik" panose="020B0503030202060203" pitchFamily="34" charset="0"/>
              <a:ea typeface="Open Sans" panose="020B0606030504020204" pitchFamily="34" charset="0"/>
              <a:cs typeface="Rubik Bold" panose="020B0604020202020204"/>
            </a:endParaRPr>
          </a:p>
        </p:txBody>
      </p:sp>
      <p:sp>
        <p:nvSpPr>
          <p:cNvPr id="28" name="TextBox 72">
            <a:extLst>
              <a:ext uri="{FF2B5EF4-FFF2-40B4-BE49-F238E27FC236}">
                <a16:creationId xmlns:a16="http://schemas.microsoft.com/office/drawing/2014/main" id="{ED0D6CFD-2ADD-4783-B524-84D031CB9E24}"/>
              </a:ext>
            </a:extLst>
          </p:cNvPr>
          <p:cNvSpPr txBox="1"/>
          <p:nvPr/>
        </p:nvSpPr>
        <p:spPr>
          <a:xfrm>
            <a:off x="1512519" y="861544"/>
            <a:ext cx="2623442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Open Sans" panose="020B0606030504020204" pitchFamily="34" charset="0"/>
                <a:cs typeface="Rubik Bold" panose="020B0604020202020204"/>
              </a:rPr>
              <a:t>191,5 </a:t>
            </a: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Mld di €</a:t>
            </a:r>
          </a:p>
        </p:txBody>
      </p:sp>
      <p:sp>
        <p:nvSpPr>
          <p:cNvPr id="29" name="Rectangle 54">
            <a:extLst>
              <a:ext uri="{FF2B5EF4-FFF2-40B4-BE49-F238E27FC236}">
                <a16:creationId xmlns:a16="http://schemas.microsoft.com/office/drawing/2014/main" id="{96DA9549-775D-45E9-B4E1-D1F67ABD5C07}"/>
              </a:ext>
            </a:extLst>
          </p:cNvPr>
          <p:cNvSpPr/>
          <p:nvPr/>
        </p:nvSpPr>
        <p:spPr>
          <a:xfrm>
            <a:off x="656379" y="1654471"/>
            <a:ext cx="4335722" cy="52322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Open Sans" panose="020B0606030504020204" pitchFamily="34" charset="0"/>
                <a:cs typeface="Rubik Bold" panose="020B0604020202020204"/>
              </a:rPr>
              <a:t>€ 122,6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Open Sans" panose="020B0606030504020204" pitchFamily="34" charset="0"/>
                <a:cs typeface="Rubik Bold" panose="020B0604020202020204"/>
              </a:rPr>
              <a:t>Mld di prestiti  -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Open Sans" panose="020B0606030504020204" pitchFamily="34" charset="0"/>
                <a:cs typeface="Rubik Bold" panose="020B0604020202020204"/>
              </a:rPr>
              <a:t>€ 68,9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Open Sans" panose="020B0606030504020204" pitchFamily="34" charset="0"/>
                <a:cs typeface="Rubik Bold" panose="020B0604020202020204"/>
              </a:rPr>
              <a:t>Mld di sovvenzion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0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Open Sans" panose="020B0606030504020204" pitchFamily="34" charset="0"/>
              <a:cs typeface="Rubik Bold" panose="020B0604020202020204"/>
            </a:endParaRPr>
          </a:p>
        </p:txBody>
      </p:sp>
      <p:sp>
        <p:nvSpPr>
          <p:cNvPr id="32" name="AutoShape 10">
            <a:extLst>
              <a:ext uri="{FF2B5EF4-FFF2-40B4-BE49-F238E27FC236}">
                <a16:creationId xmlns:a16="http://schemas.microsoft.com/office/drawing/2014/main" id="{2BF942A9-3542-4642-BD23-7D813DEB3663}"/>
              </a:ext>
            </a:extLst>
          </p:cNvPr>
          <p:cNvSpPr/>
          <p:nvPr/>
        </p:nvSpPr>
        <p:spPr>
          <a:xfrm>
            <a:off x="6690743" y="1363227"/>
            <a:ext cx="4412169" cy="713428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</p:sp>
      <p:sp>
        <p:nvSpPr>
          <p:cNvPr id="35" name="Rectangle 45">
            <a:extLst>
              <a:ext uri="{FF2B5EF4-FFF2-40B4-BE49-F238E27FC236}">
                <a16:creationId xmlns:a16="http://schemas.microsoft.com/office/drawing/2014/main" id="{87D02E22-D530-46E0-82DC-AA66787CBAFA}"/>
              </a:ext>
            </a:extLst>
          </p:cNvPr>
          <p:cNvSpPr/>
          <p:nvPr/>
        </p:nvSpPr>
        <p:spPr>
          <a:xfrm>
            <a:off x="7627344" y="1439814"/>
            <a:ext cx="3333619" cy="560255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469900" marR="0" lvl="0" indent="-469900" algn="l" defTabSz="914400" rtl="0" eaLnBrk="1" fontAlgn="auto" latinLnBrk="0" hangingPunct="1">
              <a:lnSpc>
                <a:spcPct val="107000"/>
              </a:lnSpc>
              <a:spcBef>
                <a:spcPts val="300"/>
              </a:spcBef>
              <a:spcAft>
                <a:spcPts val="800"/>
              </a:spcAft>
              <a:buClr>
                <a:srgbClr val="0A2542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73D66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M1. 	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273D66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DIGITALIZZAZIONE, INNOVAZIONE, COMPETITIVITÀ, CULTURA E TURISMO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73D66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/>
            </a:endParaRPr>
          </a:p>
        </p:txBody>
      </p:sp>
      <p:sp>
        <p:nvSpPr>
          <p:cNvPr id="36" name="Hexagon 35">
            <a:extLst>
              <a:ext uri="{FF2B5EF4-FFF2-40B4-BE49-F238E27FC236}">
                <a16:creationId xmlns:a16="http://schemas.microsoft.com/office/drawing/2014/main" id="{8EBA28A5-3070-4C35-B667-1188C33E6561}"/>
              </a:ext>
            </a:extLst>
          </p:cNvPr>
          <p:cNvSpPr/>
          <p:nvPr/>
        </p:nvSpPr>
        <p:spPr>
          <a:xfrm>
            <a:off x="6751460" y="1543749"/>
            <a:ext cx="723887" cy="352385"/>
          </a:xfrm>
          <a:prstGeom prst="hexagon">
            <a:avLst/>
          </a:prstGeom>
          <a:solidFill>
            <a:srgbClr val="EFF7F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ea typeface="Roboto" pitchFamily="2" charset="0"/>
              <a:cs typeface="Rubik Bold" panose="020B0604020202020204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9AAF9CC-475D-4CEE-A0FC-C634CCD9C674}"/>
              </a:ext>
            </a:extLst>
          </p:cNvPr>
          <p:cNvSpPr txBox="1"/>
          <p:nvPr/>
        </p:nvSpPr>
        <p:spPr>
          <a:xfrm>
            <a:off x="6612371" y="1646075"/>
            <a:ext cx="1014973" cy="1477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latin typeface="Roboto" pitchFamily="2" charset="0"/>
                <a:ea typeface="Roboto" pitchFamily="2" charset="0"/>
                <a:cs typeface="Arial" panose="020B0604020202020204" pitchFamily="34" charset="0"/>
                <a:sym typeface="Roboto" pitchFamily="2" charset="0"/>
              </a:defRPr>
            </a:lvl1pPr>
            <a:lvl2pPr marL="230396" lvl="1" indent="-226796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>
                <a:latin typeface="Roboto" pitchFamily="2" charset="0"/>
                <a:ea typeface="Roboto" pitchFamily="2" charset="0"/>
                <a:sym typeface="Roboto" pitchFamily="2" charset="0"/>
              </a:defRPr>
            </a:lvl2pPr>
            <a:lvl3pPr marL="442793" lvl="2" indent="-215997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>
                <a:latin typeface="Roboto" pitchFamily="2" charset="0"/>
                <a:ea typeface="Roboto" pitchFamily="2" charset="0"/>
                <a:sym typeface="Roboto" pitchFamily="2" charset="0"/>
              </a:defRPr>
            </a:lvl3pPr>
            <a:lvl4pPr marL="597590" lvl="3" indent="-1511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>
                <a:latin typeface="Roboto" pitchFamily="2" charset="0"/>
                <a:ea typeface="Roboto" pitchFamily="2" charset="0"/>
                <a:sym typeface="Roboto" pitchFamily="2" charset="0"/>
              </a:defRPr>
            </a:lvl4pPr>
            <a:lvl5pPr marL="817187" lvl="4" indent="-14759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>
                <a:latin typeface="Roboto" pitchFamily="2" charset="0"/>
                <a:ea typeface="Roboto" pitchFamily="2" charset="0"/>
                <a:sym typeface="Roboto" pitchFamily="2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A2542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476CB6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  <a:sym typeface="Roboto" pitchFamily="2" charset="0"/>
              </a:rPr>
              <a:t>40,29€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476CB6"/>
              </a:solidFill>
              <a:effectLst/>
              <a:uLnTx/>
              <a:uFillTx/>
              <a:latin typeface="Graphik" panose="020B0503030202060203" pitchFamily="34" charset="0"/>
              <a:ea typeface="Roboto light" pitchFamily="2" charset="0"/>
              <a:cs typeface="Rubik Bold" panose="020B0604020202020204"/>
              <a:sym typeface="Roboto" pitchFamily="2" charset="0"/>
            </a:endParaRPr>
          </a:p>
        </p:txBody>
      </p:sp>
      <p:sp>
        <p:nvSpPr>
          <p:cNvPr id="42" name="AutoShape 10">
            <a:extLst>
              <a:ext uri="{FF2B5EF4-FFF2-40B4-BE49-F238E27FC236}">
                <a16:creationId xmlns:a16="http://schemas.microsoft.com/office/drawing/2014/main" id="{4329C9C7-AA6E-4A35-A36F-CE656C44A93E}"/>
              </a:ext>
            </a:extLst>
          </p:cNvPr>
          <p:cNvSpPr/>
          <p:nvPr/>
        </p:nvSpPr>
        <p:spPr>
          <a:xfrm>
            <a:off x="6690743" y="2164522"/>
            <a:ext cx="4412169" cy="71342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</p:sp>
      <p:sp>
        <p:nvSpPr>
          <p:cNvPr id="46" name="AutoShape 10">
            <a:extLst>
              <a:ext uri="{FF2B5EF4-FFF2-40B4-BE49-F238E27FC236}">
                <a16:creationId xmlns:a16="http://schemas.microsoft.com/office/drawing/2014/main" id="{A1B6FEFC-C424-4353-ACC6-45E7F06EDB69}"/>
              </a:ext>
            </a:extLst>
          </p:cNvPr>
          <p:cNvSpPr/>
          <p:nvPr/>
        </p:nvSpPr>
        <p:spPr>
          <a:xfrm>
            <a:off x="6690743" y="2965817"/>
            <a:ext cx="4412169" cy="71342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</p:sp>
      <p:sp>
        <p:nvSpPr>
          <p:cNvPr id="50" name="AutoShape 10">
            <a:extLst>
              <a:ext uri="{FF2B5EF4-FFF2-40B4-BE49-F238E27FC236}">
                <a16:creationId xmlns:a16="http://schemas.microsoft.com/office/drawing/2014/main" id="{9D746141-12B1-4B83-9D76-AED434227414}"/>
              </a:ext>
            </a:extLst>
          </p:cNvPr>
          <p:cNvSpPr/>
          <p:nvPr/>
        </p:nvSpPr>
        <p:spPr>
          <a:xfrm>
            <a:off x="6690743" y="3743183"/>
            <a:ext cx="4412169" cy="713428"/>
          </a:xfrm>
          <a:prstGeom prst="rect">
            <a:avLst/>
          </a:prstGeom>
          <a:solidFill>
            <a:srgbClr val="355188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/>
            </a:endParaRPr>
          </a:p>
        </p:txBody>
      </p:sp>
      <p:sp>
        <p:nvSpPr>
          <p:cNvPr id="54" name="AutoShape 10">
            <a:extLst>
              <a:ext uri="{FF2B5EF4-FFF2-40B4-BE49-F238E27FC236}">
                <a16:creationId xmlns:a16="http://schemas.microsoft.com/office/drawing/2014/main" id="{F98049FB-9D1A-4038-9637-23C6FBC7F5F8}"/>
              </a:ext>
            </a:extLst>
          </p:cNvPr>
          <p:cNvSpPr/>
          <p:nvPr/>
        </p:nvSpPr>
        <p:spPr>
          <a:xfrm>
            <a:off x="6690743" y="4544041"/>
            <a:ext cx="4412169" cy="71342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</p:sp>
      <p:sp>
        <p:nvSpPr>
          <p:cNvPr id="58" name="AutoShape 10">
            <a:extLst>
              <a:ext uri="{FF2B5EF4-FFF2-40B4-BE49-F238E27FC236}">
                <a16:creationId xmlns:a16="http://schemas.microsoft.com/office/drawing/2014/main" id="{9FCDBFA5-AB83-4193-8864-2C92343AA8E2}"/>
              </a:ext>
            </a:extLst>
          </p:cNvPr>
          <p:cNvSpPr/>
          <p:nvPr/>
        </p:nvSpPr>
        <p:spPr>
          <a:xfrm>
            <a:off x="6690743" y="5351974"/>
            <a:ext cx="4412169" cy="713428"/>
          </a:xfrm>
          <a:prstGeom prst="rect">
            <a:avLst/>
          </a:prstGeom>
          <a:solidFill>
            <a:schemeClr val="accent1"/>
          </a:solidFill>
        </p:spPr>
      </p:sp>
      <p:sp>
        <p:nvSpPr>
          <p:cNvPr id="74" name="Rectangle 45">
            <a:extLst>
              <a:ext uri="{FF2B5EF4-FFF2-40B4-BE49-F238E27FC236}">
                <a16:creationId xmlns:a16="http://schemas.microsoft.com/office/drawing/2014/main" id="{A5FC4F13-027C-4C5E-9AAB-1D18E6B4BA1E}"/>
              </a:ext>
            </a:extLst>
          </p:cNvPr>
          <p:cNvSpPr/>
          <p:nvPr/>
        </p:nvSpPr>
        <p:spPr>
          <a:xfrm>
            <a:off x="7627344" y="4799303"/>
            <a:ext cx="3226212" cy="20290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469900" marR="0" lvl="0" indent="-469900" algn="l" defTabSz="914400" rtl="0" eaLnBrk="1" fontAlgn="auto" latinLnBrk="0" hangingPunct="1">
              <a:lnSpc>
                <a:spcPct val="107000"/>
              </a:lnSpc>
              <a:spcBef>
                <a:spcPts val="300"/>
              </a:spcBef>
              <a:spcAft>
                <a:spcPts val="800"/>
              </a:spcAft>
              <a:buClr>
                <a:srgbClr val="0A2542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M5. 	INCLUSIONE E COESIONE</a:t>
            </a:r>
            <a:endParaRPr kumimoji="0" lang="en-IT" sz="1200" b="1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/>
            </a:endParaRPr>
          </a:p>
        </p:txBody>
      </p:sp>
      <p:sp>
        <p:nvSpPr>
          <p:cNvPr id="75" name="Rectangle 45">
            <a:extLst>
              <a:ext uri="{FF2B5EF4-FFF2-40B4-BE49-F238E27FC236}">
                <a16:creationId xmlns:a16="http://schemas.microsoft.com/office/drawing/2014/main" id="{301CDBD1-077A-4F46-8EF0-90F58B325558}"/>
              </a:ext>
            </a:extLst>
          </p:cNvPr>
          <p:cNvSpPr/>
          <p:nvPr/>
        </p:nvSpPr>
        <p:spPr>
          <a:xfrm>
            <a:off x="7627344" y="5604908"/>
            <a:ext cx="2103127" cy="207561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469900" marR="0" lvl="0" indent="-469900" algn="l" defTabSz="914400" rtl="0" eaLnBrk="1" fontAlgn="auto" latinLnBrk="0" hangingPunct="1">
              <a:lnSpc>
                <a:spcPct val="107000"/>
              </a:lnSpc>
              <a:spcBef>
                <a:spcPts val="300"/>
              </a:spcBef>
              <a:spcAft>
                <a:spcPts val="800"/>
              </a:spcAft>
              <a:buClr>
                <a:srgbClr val="0A2542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M6. 	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ea typeface="Times New Roman" panose="02020603050405020304" pitchFamily="18" charset="0"/>
                <a:cs typeface="Rubik Bold" panose="020B0604020202020204"/>
              </a:rPr>
              <a:t>SALUTE</a:t>
            </a:r>
            <a:endParaRPr kumimoji="0" lang="en-IT" sz="1200" b="1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/>
            </a:endParaRP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0BDACB36-E8F7-4BD4-9520-DBF40614366A}"/>
              </a:ext>
            </a:extLst>
          </p:cNvPr>
          <p:cNvGrpSpPr/>
          <p:nvPr/>
        </p:nvGrpSpPr>
        <p:grpSpPr>
          <a:xfrm>
            <a:off x="6612371" y="5532496"/>
            <a:ext cx="1014973" cy="352385"/>
            <a:chOff x="11153185" y="7770573"/>
            <a:chExt cx="1014973" cy="352385"/>
          </a:xfrm>
        </p:grpSpPr>
        <p:sp>
          <p:nvSpPr>
            <p:cNvPr id="80" name="Hexagon 79">
              <a:extLst>
                <a:ext uri="{FF2B5EF4-FFF2-40B4-BE49-F238E27FC236}">
                  <a16:creationId xmlns:a16="http://schemas.microsoft.com/office/drawing/2014/main" id="{D7AC5AA0-4251-46F6-84A4-83B857B9AAD0}"/>
                </a:ext>
              </a:extLst>
            </p:cNvPr>
            <p:cNvSpPr/>
            <p:nvPr/>
          </p:nvSpPr>
          <p:spPr>
            <a:xfrm>
              <a:off x="11292273" y="7770573"/>
              <a:ext cx="723887" cy="352385"/>
            </a:xfrm>
            <a:prstGeom prst="hexagon">
              <a:avLst/>
            </a:prstGeom>
            <a:solidFill>
              <a:srgbClr val="FFF2D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Roboto" pitchFamily="2" charset="0"/>
                <a:cs typeface="Rubik Bold" panose="020B0604020202020204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A200E1DF-B53C-4657-B2A8-A043A5E97CBF}"/>
                </a:ext>
              </a:extLst>
            </p:cNvPr>
            <p:cNvSpPr txBox="1"/>
            <p:nvPr/>
          </p:nvSpPr>
          <p:spPr>
            <a:xfrm>
              <a:off x="11153185" y="7858440"/>
              <a:ext cx="1014973" cy="14773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latin typeface="Roboto" pitchFamily="2" charset="0"/>
                  <a:ea typeface="Roboto" pitchFamily="2" charset="0"/>
                  <a:cs typeface="Arial" panose="020B0604020202020204" pitchFamily="34" charset="0"/>
                  <a:sym typeface="Roboto" pitchFamily="2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Wingdings" panose="05000000000000000000" pitchFamily="2" charset="2"/>
                <a:buChar char="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Arial" panose="020B0604020202020204" pitchFamily="34" charset="0"/>
                <a:buChar char="‒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A2542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C9700"/>
                  </a:solidFill>
                  <a:effectLst/>
                  <a:uLnTx/>
                  <a:uFillTx/>
                  <a:latin typeface="Graphik" panose="020B0503030202060203" pitchFamily="34" charset="0"/>
                  <a:cs typeface="Rubik Bold" panose="020B0604020202020204"/>
                  <a:sym typeface="Roboto" pitchFamily="2" charset="0"/>
                </a:rPr>
                <a:t>15,63€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CC9700"/>
                </a:solidFill>
                <a:effectLst/>
                <a:uLnTx/>
                <a:uFillTx/>
                <a:latin typeface="Graphik" panose="020B0503030202060203" pitchFamily="34" charset="0"/>
                <a:ea typeface="Roboto light" pitchFamily="2" charset="0"/>
                <a:cs typeface="Rubik Bold" panose="020B0604020202020204"/>
                <a:sym typeface="Roboto" pitchFamily="2" charset="0"/>
              </a:endParaRP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E248CE46-FCFF-4A74-94EF-5A56005DE2A0}"/>
              </a:ext>
            </a:extLst>
          </p:cNvPr>
          <p:cNvGrpSpPr/>
          <p:nvPr/>
        </p:nvGrpSpPr>
        <p:grpSpPr>
          <a:xfrm>
            <a:off x="6612371" y="4724563"/>
            <a:ext cx="1014973" cy="352385"/>
            <a:chOff x="6905680" y="7770573"/>
            <a:chExt cx="1014973" cy="352385"/>
          </a:xfrm>
        </p:grpSpPr>
        <p:sp>
          <p:nvSpPr>
            <p:cNvPr id="82" name="Hexagon 81">
              <a:extLst>
                <a:ext uri="{FF2B5EF4-FFF2-40B4-BE49-F238E27FC236}">
                  <a16:creationId xmlns:a16="http://schemas.microsoft.com/office/drawing/2014/main" id="{2D5B07D1-1E9F-4696-83E8-F109D99BBEEA}"/>
                </a:ext>
              </a:extLst>
            </p:cNvPr>
            <p:cNvSpPr/>
            <p:nvPr/>
          </p:nvSpPr>
          <p:spPr>
            <a:xfrm>
              <a:off x="7032346" y="7770573"/>
              <a:ext cx="723887" cy="352385"/>
            </a:xfrm>
            <a:prstGeom prst="hexagon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Roboto" pitchFamily="2" charset="0"/>
                <a:cs typeface="Rubik Bold" panose="020B0604020202020204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2B57B3F-F036-4DCC-9088-B692F510AF38}"/>
                </a:ext>
              </a:extLst>
            </p:cNvPr>
            <p:cNvSpPr txBox="1"/>
            <p:nvPr/>
          </p:nvSpPr>
          <p:spPr>
            <a:xfrm>
              <a:off x="6905680" y="7858440"/>
              <a:ext cx="1014973" cy="14773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latin typeface="Roboto" pitchFamily="2" charset="0"/>
                  <a:ea typeface="Roboto" pitchFamily="2" charset="0"/>
                  <a:cs typeface="Arial" panose="020B0604020202020204" pitchFamily="34" charset="0"/>
                  <a:sym typeface="Roboto" pitchFamily="2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Wingdings" panose="05000000000000000000" pitchFamily="2" charset="2"/>
                <a:buChar char="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Arial" panose="020B0604020202020204" pitchFamily="34" charset="0"/>
                <a:buChar char="‒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A2542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8C94D">
                      <a:lumMod val="75000"/>
                    </a:srgbClr>
                  </a:solidFill>
                  <a:effectLst/>
                  <a:uLnTx/>
                  <a:uFillTx/>
                  <a:latin typeface="Graphik" panose="020B0503030202060203" pitchFamily="34" charset="0"/>
                  <a:cs typeface="Rubik Bold" panose="020B0604020202020204"/>
                  <a:sym typeface="Roboto" pitchFamily="2" charset="0"/>
                </a:rPr>
                <a:t>19,85€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8C94D">
                    <a:lumMod val="7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ea typeface="Roboto light" pitchFamily="2" charset="0"/>
                <a:cs typeface="Rubik Bold" panose="020B0604020202020204"/>
                <a:sym typeface="Roboto" pitchFamily="2" charset="0"/>
              </a:endParaRPr>
            </a:p>
          </p:txBody>
        </p:sp>
      </p:grpSp>
      <p:sp>
        <p:nvSpPr>
          <p:cNvPr id="86" name="Rectangle 45">
            <a:extLst>
              <a:ext uri="{FF2B5EF4-FFF2-40B4-BE49-F238E27FC236}">
                <a16:creationId xmlns:a16="http://schemas.microsoft.com/office/drawing/2014/main" id="{434E867C-CD50-46C7-B9E2-7A4BE6F6A85C}"/>
              </a:ext>
            </a:extLst>
          </p:cNvPr>
          <p:cNvSpPr/>
          <p:nvPr/>
        </p:nvSpPr>
        <p:spPr>
          <a:xfrm>
            <a:off x="7627344" y="3998445"/>
            <a:ext cx="3226212" cy="202904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469900" marR="0" lvl="0" indent="-469900" algn="l" defTabSz="914400" rtl="0" eaLnBrk="1" fontAlgn="auto" latinLnBrk="0" hangingPunct="1">
              <a:lnSpc>
                <a:spcPct val="107000"/>
              </a:lnSpc>
              <a:spcBef>
                <a:spcPts val="300"/>
              </a:spcBef>
              <a:spcAft>
                <a:spcPts val="800"/>
              </a:spcAft>
              <a:buClr>
                <a:srgbClr val="0A2542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M4. 	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Times New Roman" panose="02020603050405020304" pitchFamily="18" charset="0"/>
                <a:cs typeface="Rubik Bold" panose="020B0604020202020204"/>
              </a:rPr>
              <a:t>ISTRUZIONE E RICERCA</a:t>
            </a:r>
            <a:endParaRPr kumimoji="0" lang="en-IT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/>
            </a:endParaRPr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6B8BC8C9-A541-43E8-B7F3-92C677254FB2}"/>
              </a:ext>
            </a:extLst>
          </p:cNvPr>
          <p:cNvGrpSpPr/>
          <p:nvPr/>
        </p:nvGrpSpPr>
        <p:grpSpPr>
          <a:xfrm>
            <a:off x="6612371" y="3923705"/>
            <a:ext cx="1014973" cy="352385"/>
            <a:chOff x="3055146" y="7770573"/>
            <a:chExt cx="1014973" cy="352385"/>
          </a:xfrm>
        </p:grpSpPr>
        <p:sp>
          <p:nvSpPr>
            <p:cNvPr id="87" name="Hexagon 86">
              <a:extLst>
                <a:ext uri="{FF2B5EF4-FFF2-40B4-BE49-F238E27FC236}">
                  <a16:creationId xmlns:a16="http://schemas.microsoft.com/office/drawing/2014/main" id="{CC6BF318-1955-4F11-A3E8-E9F6123B70E8}"/>
                </a:ext>
              </a:extLst>
            </p:cNvPr>
            <p:cNvSpPr/>
            <p:nvPr/>
          </p:nvSpPr>
          <p:spPr>
            <a:xfrm>
              <a:off x="3191066" y="7770573"/>
              <a:ext cx="723887" cy="352385"/>
            </a:xfrm>
            <a:prstGeom prst="hexagon">
              <a:avLst/>
            </a:prstGeom>
            <a:solidFill>
              <a:schemeClr val="bg2">
                <a:lumMod val="60000"/>
                <a:lumOff val="40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Roboto" pitchFamily="2" charset="0"/>
                <a:cs typeface="Rubik Bold" panose="020B0604020202020204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DD17E69A-F91B-4E77-9F97-892E3771119D}"/>
                </a:ext>
              </a:extLst>
            </p:cNvPr>
            <p:cNvSpPr txBox="1"/>
            <p:nvPr/>
          </p:nvSpPr>
          <p:spPr>
            <a:xfrm>
              <a:off x="3055146" y="7858440"/>
              <a:ext cx="1014973" cy="14773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latin typeface="Roboto" pitchFamily="2" charset="0"/>
                  <a:ea typeface="Roboto" pitchFamily="2" charset="0"/>
                  <a:cs typeface="Arial" panose="020B0604020202020204" pitchFamily="34" charset="0"/>
                  <a:sym typeface="Roboto" pitchFamily="2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Wingdings" panose="05000000000000000000" pitchFamily="2" charset="2"/>
                <a:buChar char="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Arial" panose="020B0604020202020204" pitchFamily="34" charset="0"/>
                <a:buChar char="‒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A2542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  <a:cs typeface="Rubik Bold" panose="020B0604020202020204"/>
                  <a:sym typeface="Roboto" pitchFamily="2" charset="0"/>
                </a:rPr>
                <a:t>30,88€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Roboto light" pitchFamily="2" charset="0"/>
                <a:cs typeface="Rubik Bold" panose="020B0604020202020204"/>
                <a:sym typeface="Roboto" pitchFamily="2" charset="0"/>
              </a:endParaRPr>
            </a:p>
          </p:txBody>
        </p:sp>
      </p:grpSp>
      <p:sp>
        <p:nvSpPr>
          <p:cNvPr id="98" name="Rectangle 45">
            <a:extLst>
              <a:ext uri="{FF2B5EF4-FFF2-40B4-BE49-F238E27FC236}">
                <a16:creationId xmlns:a16="http://schemas.microsoft.com/office/drawing/2014/main" id="{80472A07-FFE1-491F-85AB-A2751F445A01}"/>
              </a:ext>
            </a:extLst>
          </p:cNvPr>
          <p:cNvSpPr/>
          <p:nvPr/>
        </p:nvSpPr>
        <p:spPr>
          <a:xfrm>
            <a:off x="7627344" y="2332356"/>
            <a:ext cx="3163225" cy="37776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469900" marR="0" lvl="0" indent="-469900" algn="l" defTabSz="914400" rtl="0" eaLnBrk="1" fontAlgn="auto" latinLnBrk="0" hangingPunct="1">
              <a:lnSpc>
                <a:spcPct val="107000"/>
              </a:lnSpc>
              <a:spcBef>
                <a:spcPts val="300"/>
              </a:spcBef>
              <a:spcAft>
                <a:spcPts val="800"/>
              </a:spcAft>
              <a:buClr>
                <a:srgbClr val="0A2542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73D66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M2. 	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273D66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RIVOLUZIONE VERDE E TRANSIZIONE ECOLOGICA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73D66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/>
            </a:endParaRP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9CF34285-EAB2-4B7C-AFC3-E3D686A0E020}"/>
              </a:ext>
            </a:extLst>
          </p:cNvPr>
          <p:cNvGrpSpPr/>
          <p:nvPr/>
        </p:nvGrpSpPr>
        <p:grpSpPr>
          <a:xfrm>
            <a:off x="6612371" y="2345044"/>
            <a:ext cx="1014973" cy="352385"/>
            <a:chOff x="7344894" y="7934967"/>
            <a:chExt cx="1014973" cy="352385"/>
          </a:xfrm>
        </p:grpSpPr>
        <p:sp>
          <p:nvSpPr>
            <p:cNvPr id="99" name="Hexagon 98">
              <a:extLst>
                <a:ext uri="{FF2B5EF4-FFF2-40B4-BE49-F238E27FC236}">
                  <a16:creationId xmlns:a16="http://schemas.microsoft.com/office/drawing/2014/main" id="{9431CB7C-740E-4F72-AF20-0EFD469548C8}"/>
                </a:ext>
              </a:extLst>
            </p:cNvPr>
            <p:cNvSpPr/>
            <p:nvPr/>
          </p:nvSpPr>
          <p:spPr>
            <a:xfrm>
              <a:off x="7480814" y="7934967"/>
              <a:ext cx="723887" cy="352385"/>
            </a:xfrm>
            <a:prstGeom prst="hexagon">
              <a:avLst/>
            </a:prstGeom>
            <a:solidFill>
              <a:schemeClr val="tx1">
                <a:lumMod val="10000"/>
                <a:lumOff val="90000"/>
              </a:schemeClr>
            </a:solidFill>
            <a:ln w="6350" cap="sq">
              <a:noFill/>
              <a:miter lim="800000"/>
            </a:ln>
            <a:effectLst>
              <a:outerShdw sx="0" sy="0" rotWithShape="0">
                <a:scrgbClr r="0" g="0" b="0"/>
              </a:outerShdw>
            </a:effectLst>
            <a:extLst>
              <a:ext uri="{31F19639-BCED-4A60-ADC4-E9642A236FB7}">
                <a14:hiddenScene3d xmlns:a14="http://schemas.microsoft.com/office/drawing/2010/main">
                  <a:camera prst="orthographicFront"/>
                  <a:lightRig rig="threePt" dir="t"/>
                </a14:hiddenScene3d>
              </a:ext>
              <a:ext uri="{E45631CC-5BF2-4C18-A39C-3461C7D3F71A}">
                <a14:hiddenSp3d xmlns:a14="http://schemas.microsoft.com/office/drawing/2010/main">
                  <a:bevelT w="0" h="0"/>
                  <a:bevelB w="0" h="0"/>
                </a14:hiddenSp3d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Roboto" pitchFamily="2" charset="0"/>
                <a:cs typeface="Rubik Bold" panose="020B0604020202020204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420C32CB-41ED-42EC-B8F2-BFED370157EC}"/>
                </a:ext>
              </a:extLst>
            </p:cNvPr>
            <p:cNvSpPr txBox="1"/>
            <p:nvPr/>
          </p:nvSpPr>
          <p:spPr>
            <a:xfrm>
              <a:off x="7344894" y="8022834"/>
              <a:ext cx="1014973" cy="14773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latin typeface="Roboto" pitchFamily="2" charset="0"/>
                  <a:ea typeface="Roboto" pitchFamily="2" charset="0"/>
                  <a:cs typeface="Arial" panose="020B0604020202020204" pitchFamily="34" charset="0"/>
                  <a:sym typeface="Roboto" pitchFamily="2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Wingdings" panose="05000000000000000000" pitchFamily="2" charset="2"/>
                <a:buChar char="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Arial" panose="020B0604020202020204" pitchFamily="34" charset="0"/>
                <a:buChar char="‒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A2542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73D66"/>
                  </a:solidFill>
                  <a:effectLst/>
                  <a:uLnTx/>
                  <a:uFillTx/>
                  <a:latin typeface="Graphik" panose="020B0503030202060203" pitchFamily="34" charset="0"/>
                  <a:cs typeface="Rubik Bold" panose="020B0604020202020204"/>
                  <a:sym typeface="Roboto" pitchFamily="2" charset="0"/>
                </a:rPr>
                <a:t>59,46€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73D66"/>
                </a:solidFill>
                <a:effectLst/>
                <a:uLnTx/>
                <a:uFillTx/>
                <a:latin typeface="Graphik" panose="020B0503030202060203" pitchFamily="34" charset="0"/>
                <a:ea typeface="Roboto light" pitchFamily="2" charset="0"/>
                <a:cs typeface="Rubik Bold" panose="020B0604020202020204"/>
                <a:sym typeface="Roboto" pitchFamily="2" charset="0"/>
              </a:endParaRPr>
            </a:p>
          </p:txBody>
        </p:sp>
      </p:grpSp>
      <p:sp>
        <p:nvSpPr>
          <p:cNvPr id="103" name="Rectangle 45">
            <a:extLst>
              <a:ext uri="{FF2B5EF4-FFF2-40B4-BE49-F238E27FC236}">
                <a16:creationId xmlns:a16="http://schemas.microsoft.com/office/drawing/2014/main" id="{8CA55A56-BE2C-403B-B9D9-9764252ACDB3}"/>
              </a:ext>
            </a:extLst>
          </p:cNvPr>
          <p:cNvSpPr/>
          <p:nvPr/>
        </p:nvSpPr>
        <p:spPr>
          <a:xfrm>
            <a:off x="7627344" y="3122012"/>
            <a:ext cx="3226212" cy="40103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469900" marR="0" lvl="0" indent="-469900" algn="l" defTabSz="914400" rtl="0" eaLnBrk="1" fontAlgn="auto" latinLnBrk="0" hangingPunct="1">
              <a:lnSpc>
                <a:spcPct val="107000"/>
              </a:lnSpc>
              <a:spcBef>
                <a:spcPts val="300"/>
              </a:spcBef>
              <a:spcAft>
                <a:spcPts val="800"/>
              </a:spcAft>
              <a:buClr>
                <a:srgbClr val="0A2542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M3. 	INFRASTRUTTURE PER UNA </a:t>
            </a:r>
            <a:b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</a:b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MOBILITÀ SOSTENIBILE</a:t>
            </a:r>
          </a:p>
        </p:txBody>
      </p: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C1E0AFF1-CC6C-45AA-AEC4-BF4100ECAF44}"/>
              </a:ext>
            </a:extLst>
          </p:cNvPr>
          <p:cNvGrpSpPr/>
          <p:nvPr/>
        </p:nvGrpSpPr>
        <p:grpSpPr>
          <a:xfrm>
            <a:off x="6612371" y="3146339"/>
            <a:ext cx="1014973" cy="352385"/>
            <a:chOff x="11199605" y="7934967"/>
            <a:chExt cx="1014973" cy="352385"/>
          </a:xfrm>
        </p:grpSpPr>
        <p:sp>
          <p:nvSpPr>
            <p:cNvPr id="104" name="Hexagon 103">
              <a:extLst>
                <a:ext uri="{FF2B5EF4-FFF2-40B4-BE49-F238E27FC236}">
                  <a16:creationId xmlns:a16="http://schemas.microsoft.com/office/drawing/2014/main" id="{19662306-88BB-4C01-9C5D-03CD1C101DDD}"/>
                </a:ext>
              </a:extLst>
            </p:cNvPr>
            <p:cNvSpPr/>
            <p:nvPr/>
          </p:nvSpPr>
          <p:spPr>
            <a:xfrm>
              <a:off x="11317631" y="7934967"/>
              <a:ext cx="723887" cy="352385"/>
            </a:xfrm>
            <a:prstGeom prst="hexagon">
              <a:avLst/>
            </a:prstGeom>
            <a:solidFill>
              <a:schemeClr val="accent2">
                <a:lumMod val="40000"/>
                <a:lumOff val="60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ea typeface="Roboto" pitchFamily="2" charset="0"/>
                <a:cs typeface="Rubik Bold" panose="020B0604020202020204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E95A1A6A-3371-4DE0-8BEA-AB942B3CF501}"/>
                </a:ext>
              </a:extLst>
            </p:cNvPr>
            <p:cNvSpPr txBox="1"/>
            <p:nvPr/>
          </p:nvSpPr>
          <p:spPr>
            <a:xfrm>
              <a:off x="11199605" y="8022834"/>
              <a:ext cx="1014973" cy="14773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latin typeface="Roboto" pitchFamily="2" charset="0"/>
                  <a:ea typeface="Roboto" pitchFamily="2" charset="0"/>
                  <a:cs typeface="Arial" panose="020B0604020202020204" pitchFamily="34" charset="0"/>
                  <a:sym typeface="Roboto" pitchFamily="2" charset="0"/>
                </a:defRPr>
              </a:lvl1pPr>
              <a:lvl2pPr marL="230396" lvl="1" indent="-226796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Wingdings" panose="05000000000000000000" pitchFamily="2" charset="2"/>
                <a:buChar char="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2pPr>
              <a:lvl3pPr marL="442793" lvl="2" indent="-215997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Arial" panose="020B0604020202020204" pitchFamily="34" charset="0"/>
                <a:buChar char="‒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3pPr>
              <a:lvl4pPr marL="597590" lvl="3" indent="-1511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4pPr>
              <a:lvl5pPr marL="817187" lvl="4" indent="-14759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>
                  <a:latin typeface="Roboto" pitchFamily="2" charset="0"/>
                  <a:ea typeface="Roboto" pitchFamily="2" charset="0"/>
                  <a:sym typeface="Roboto" pitchFamily="2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A2542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73D66"/>
                  </a:solidFill>
                  <a:effectLst/>
                  <a:uLnTx/>
                  <a:uFillTx/>
                  <a:latin typeface="Graphik" panose="020B0503030202060203" pitchFamily="34" charset="0"/>
                  <a:ea typeface="Roboto light" pitchFamily="2" charset="0"/>
                  <a:cs typeface="Rubik Bold" panose="020B0604020202020204"/>
                  <a:sym typeface="Roboto" pitchFamily="2" charset="0"/>
                </a:rPr>
                <a:t>25,40€</a:t>
              </a:r>
            </a:p>
          </p:txBody>
        </p:sp>
      </p:grpSp>
      <p:pic>
        <p:nvPicPr>
          <p:cNvPr id="44" name="Picture 43" descr="Logo&#10;&#10;Description automatically generated">
            <a:extLst>
              <a:ext uri="{FF2B5EF4-FFF2-40B4-BE49-F238E27FC236}">
                <a16:creationId xmlns:a16="http://schemas.microsoft.com/office/drawing/2014/main" id="{124335BE-AF2D-4BA1-8E14-EAF0C11030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71803" y="6406830"/>
            <a:ext cx="351082" cy="294908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3"/>
          <p:cNvSpPr txBox="1"/>
          <p:nvPr/>
        </p:nvSpPr>
        <p:spPr>
          <a:xfrm>
            <a:off x="283846" y="4184712"/>
            <a:ext cx="1641280" cy="14913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171450" indent="-171450" defTabSz="60963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100" dirty="0">
                <a:solidFill>
                  <a:srgbClr val="002060"/>
                </a:solidFill>
                <a:latin typeface="Graphik" panose="020B0503030202060203" pitchFamily="34" charset="0"/>
              </a:rPr>
              <a:t>Polo Strategico Nazionale</a:t>
            </a:r>
          </a:p>
          <a:p>
            <a:pPr marL="171450" indent="-171450" defTabSz="60963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100" dirty="0">
                <a:solidFill>
                  <a:srgbClr val="002060"/>
                </a:solidFill>
                <a:latin typeface="Graphik" panose="020B0503030202060203" pitchFamily="34" charset="0"/>
              </a:rPr>
              <a:t>Formazione competenze digitali </a:t>
            </a:r>
          </a:p>
          <a:p>
            <a:pPr marL="171450" indent="-171450" defTabSz="60963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100" dirty="0">
                <a:solidFill>
                  <a:srgbClr val="002060"/>
                </a:solidFill>
                <a:latin typeface="Graphik" panose="020B0503030202060203" pitchFamily="34" charset="0"/>
              </a:rPr>
              <a:t>Banda Ultra larga e connessioni veloci</a:t>
            </a:r>
          </a:p>
        </p:txBody>
      </p:sp>
      <p:sp>
        <p:nvSpPr>
          <p:cNvPr id="60" name="TextBox 12">
            <a:extLst>
              <a:ext uri="{FF2B5EF4-FFF2-40B4-BE49-F238E27FC236}">
                <a16:creationId xmlns:a16="http://schemas.microsoft.com/office/drawing/2014/main" id="{C1FF778F-1C81-4634-B4C7-BF5BC94AB980}"/>
              </a:ext>
            </a:extLst>
          </p:cNvPr>
          <p:cNvSpPr txBox="1"/>
          <p:nvPr/>
        </p:nvSpPr>
        <p:spPr>
          <a:xfrm>
            <a:off x="2094322" y="3434907"/>
            <a:ext cx="1914574" cy="6321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2613"/>
              </a:lnSpc>
              <a:spcBef>
                <a:spcPct val="0"/>
              </a:spcBef>
            </a:pPr>
            <a:r>
              <a:rPr lang="en-US" sz="1400" b="1" dirty="0">
                <a:solidFill>
                  <a:srgbClr val="002060"/>
                </a:solidFill>
                <a:latin typeface="Graphik Black" panose="020B0A03030202060203" pitchFamily="34" charset="0"/>
              </a:rPr>
              <a:t>TRANSIZIONE </a:t>
            </a:r>
          </a:p>
          <a:p>
            <a:pPr algn="ctr" defTabSz="609630">
              <a:lnSpc>
                <a:spcPts val="2613"/>
              </a:lnSpc>
              <a:spcBef>
                <a:spcPct val="0"/>
              </a:spcBef>
            </a:pPr>
            <a:r>
              <a:rPr lang="en-US" sz="1400" b="1" dirty="0">
                <a:solidFill>
                  <a:srgbClr val="002060"/>
                </a:solidFill>
                <a:latin typeface="Graphik Black" panose="020B0A03030202060203" pitchFamily="34" charset="0"/>
              </a:rPr>
              <a:t>VERDE</a:t>
            </a:r>
          </a:p>
        </p:txBody>
      </p:sp>
      <p:sp>
        <p:nvSpPr>
          <p:cNvPr id="61" name="TextBox 13">
            <a:extLst>
              <a:ext uri="{FF2B5EF4-FFF2-40B4-BE49-F238E27FC236}">
                <a16:creationId xmlns:a16="http://schemas.microsoft.com/office/drawing/2014/main" id="{8312B74E-D9B9-4644-9BB2-9F62CF4567B2}"/>
              </a:ext>
            </a:extLst>
          </p:cNvPr>
          <p:cNvSpPr txBox="1"/>
          <p:nvPr/>
        </p:nvSpPr>
        <p:spPr>
          <a:xfrm>
            <a:off x="2230969" y="4184712"/>
            <a:ext cx="1641280" cy="9835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it-IT"/>
            </a:defPPr>
            <a:lvl1pPr marL="171450" indent="-171450" defTabSz="609630">
              <a:lnSpc>
                <a:spcPct val="150000"/>
              </a:lnSpc>
              <a:buFont typeface="Arial" panose="020B0604020202020204" pitchFamily="34" charset="0"/>
              <a:buChar char="•"/>
              <a:defRPr sz="1199">
                <a:solidFill>
                  <a:srgbClr val="F4F4F4"/>
                </a:solidFill>
                <a:latin typeface="Graphik" panose="020B0503030202060203" pitchFamily="34" charset="0"/>
              </a:defRPr>
            </a:lvl1pPr>
          </a:lstStyle>
          <a:p>
            <a:r>
              <a:rPr lang="it-IT" sz="1100" dirty="0">
                <a:solidFill>
                  <a:srgbClr val="002060"/>
                </a:solidFill>
              </a:rPr>
              <a:t>Investimenti nell’idrogeno</a:t>
            </a:r>
          </a:p>
          <a:p>
            <a:r>
              <a:rPr lang="it-IT" sz="1100" dirty="0">
                <a:solidFill>
                  <a:srgbClr val="002060"/>
                </a:solidFill>
              </a:rPr>
              <a:t>Superbonus 110%</a:t>
            </a:r>
          </a:p>
          <a:p>
            <a:r>
              <a:rPr lang="it-IT" sz="1100" dirty="0">
                <a:solidFill>
                  <a:srgbClr val="002060"/>
                </a:solidFill>
              </a:rPr>
              <a:t>Piani urbani integrati</a:t>
            </a:r>
          </a:p>
        </p:txBody>
      </p:sp>
      <p:sp>
        <p:nvSpPr>
          <p:cNvPr id="62" name="TextBox 12">
            <a:extLst>
              <a:ext uri="{FF2B5EF4-FFF2-40B4-BE49-F238E27FC236}">
                <a16:creationId xmlns:a16="http://schemas.microsoft.com/office/drawing/2014/main" id="{E99C1C96-6DF5-4604-B22C-E417377A58FD}"/>
              </a:ext>
            </a:extLst>
          </p:cNvPr>
          <p:cNvSpPr txBox="1"/>
          <p:nvPr/>
        </p:nvSpPr>
        <p:spPr>
          <a:xfrm>
            <a:off x="4052179" y="3434907"/>
            <a:ext cx="1914574" cy="61997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2613"/>
              </a:lnSpc>
              <a:spcBef>
                <a:spcPct val="0"/>
              </a:spcBef>
            </a:pPr>
            <a:r>
              <a:rPr lang="en-US" sz="1400" b="1" dirty="0">
                <a:solidFill>
                  <a:srgbClr val="002060"/>
                </a:solidFill>
                <a:latin typeface="Graphik Black" panose="020B0A03030202060203" pitchFamily="34" charset="0"/>
              </a:rPr>
              <a:t>INFRASTRUTTURE </a:t>
            </a:r>
          </a:p>
          <a:p>
            <a:pPr algn="ctr" defTabSz="609630">
              <a:lnSpc>
                <a:spcPts val="2613"/>
              </a:lnSpc>
              <a:spcBef>
                <a:spcPct val="0"/>
              </a:spcBef>
            </a:pPr>
            <a:r>
              <a:rPr lang="en-US" sz="1400" b="1" dirty="0">
                <a:solidFill>
                  <a:srgbClr val="002060"/>
                </a:solidFill>
                <a:latin typeface="Graphik Black" panose="020B0A03030202060203" pitchFamily="34" charset="0"/>
              </a:rPr>
              <a:t>E MOBILITÀ</a:t>
            </a:r>
          </a:p>
        </p:txBody>
      </p:sp>
      <p:sp>
        <p:nvSpPr>
          <p:cNvPr id="63" name="TextBox 13">
            <a:extLst>
              <a:ext uri="{FF2B5EF4-FFF2-40B4-BE49-F238E27FC236}">
                <a16:creationId xmlns:a16="http://schemas.microsoft.com/office/drawing/2014/main" id="{EA9899E2-32CE-41C6-831D-C0F439D80F01}"/>
              </a:ext>
            </a:extLst>
          </p:cNvPr>
          <p:cNvSpPr txBox="1"/>
          <p:nvPr/>
        </p:nvSpPr>
        <p:spPr>
          <a:xfrm>
            <a:off x="4079471" y="4184712"/>
            <a:ext cx="1859991" cy="25070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it-IT"/>
            </a:defPPr>
            <a:lvl1pPr marL="171450" indent="-171450" defTabSz="609630">
              <a:lnSpc>
                <a:spcPct val="150000"/>
              </a:lnSpc>
              <a:buFont typeface="Arial" panose="020B0604020202020204" pitchFamily="34" charset="0"/>
              <a:buChar char="•"/>
              <a:defRPr sz="1199">
                <a:solidFill>
                  <a:srgbClr val="F4F4F4"/>
                </a:solidFill>
                <a:latin typeface="Graphik" panose="020B0503030202060203" pitchFamily="34" charset="0"/>
              </a:defRPr>
            </a:lvl1pPr>
          </a:lstStyle>
          <a:p>
            <a:r>
              <a:rPr lang="it-IT" sz="1100" dirty="0">
                <a:solidFill>
                  <a:srgbClr val="002060"/>
                </a:solidFill>
              </a:rPr>
              <a:t>Trasporti ferroviari ad alta velocità e alta velocità di rete </a:t>
            </a:r>
          </a:p>
          <a:p>
            <a:r>
              <a:rPr lang="it-IT" sz="1100" dirty="0">
                <a:solidFill>
                  <a:srgbClr val="002060"/>
                </a:solidFill>
              </a:rPr>
              <a:t>Modernizzazione e potenziamento delle linee ferroviarie regionali    </a:t>
            </a:r>
          </a:p>
          <a:p>
            <a:r>
              <a:rPr lang="it-IT" sz="1100" dirty="0">
                <a:solidFill>
                  <a:srgbClr val="002060"/>
                </a:solidFill>
              </a:rPr>
              <a:t>Riqualificazione delle aree urbane, extra-urbane e dei piccoli borghi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6D862A65-14AA-448D-B919-F534322ACDB9}"/>
              </a:ext>
            </a:extLst>
          </p:cNvPr>
          <p:cNvGrpSpPr/>
          <p:nvPr/>
        </p:nvGrpSpPr>
        <p:grpSpPr>
          <a:xfrm>
            <a:off x="277643" y="1566235"/>
            <a:ext cx="1653686" cy="1731668"/>
            <a:chOff x="320099" y="1638147"/>
            <a:chExt cx="1653686" cy="1731668"/>
          </a:xfrm>
        </p:grpSpPr>
        <p:grpSp>
          <p:nvGrpSpPr>
            <p:cNvPr id="3" name="Group 3"/>
            <p:cNvGrpSpPr>
              <a:grpSpLocks noChangeAspect="1"/>
            </p:cNvGrpSpPr>
            <p:nvPr/>
          </p:nvGrpSpPr>
          <p:grpSpPr>
            <a:xfrm>
              <a:off x="420854" y="1816890"/>
              <a:ext cx="1552931" cy="1552925"/>
              <a:chOff x="0" y="0"/>
              <a:chExt cx="6350025" cy="6350000"/>
            </a:xfrm>
          </p:grpSpPr>
          <p:sp>
            <p:nvSpPr>
              <p:cNvPr id="4" name="Freeform 4"/>
              <p:cNvSpPr/>
              <p:nvPr/>
            </p:nvSpPr>
            <p:spPr>
              <a:xfrm>
                <a:off x="0" y="0"/>
                <a:ext cx="6350026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50026" h="6350000">
                    <a:moveTo>
                      <a:pt x="0" y="0"/>
                    </a:moveTo>
                    <a:lnTo>
                      <a:pt x="6350026" y="0"/>
                    </a:lnTo>
                    <a:lnTo>
                      <a:pt x="6350026" y="6350000"/>
                    </a:lnTo>
                    <a:lnTo>
                      <a:pt x="0" y="6350000"/>
                    </a:lnTo>
                    <a:close/>
                  </a:path>
                </a:pathLst>
              </a:custGeom>
              <a:solidFill>
                <a:srgbClr val="002060"/>
              </a:solidFill>
              <a:ln>
                <a:solidFill>
                  <a:srgbClr val="000000"/>
                </a:solidFill>
              </a:ln>
            </p:spPr>
          </p:sp>
        </p:grpSp>
        <p:pic>
          <p:nvPicPr>
            <p:cNvPr id="64" name="Picture 2" descr="Illustrazioni gratis di Intelligenza artificiale">
              <a:extLst>
                <a:ext uri="{FF2B5EF4-FFF2-40B4-BE49-F238E27FC236}">
                  <a16:creationId xmlns:a16="http://schemas.microsoft.com/office/drawing/2014/main" id="{AE31EDEC-6D01-4016-A878-126BEBA18E8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769" t="7757" r="27800" b="17274"/>
            <a:stretch/>
          </p:blipFill>
          <p:spPr bwMode="auto">
            <a:xfrm>
              <a:off x="320099" y="1638147"/>
              <a:ext cx="1615458" cy="16983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7FE0F611-D6CD-4CEE-97BE-31B5F3FA24D2}"/>
              </a:ext>
            </a:extLst>
          </p:cNvPr>
          <p:cNvGrpSpPr/>
          <p:nvPr/>
        </p:nvGrpSpPr>
        <p:grpSpPr>
          <a:xfrm>
            <a:off x="2194792" y="1602741"/>
            <a:ext cx="1713635" cy="1695162"/>
            <a:chOff x="2165810" y="1674653"/>
            <a:chExt cx="1713635" cy="1695162"/>
          </a:xfrm>
        </p:grpSpPr>
        <p:grpSp>
          <p:nvGrpSpPr>
            <p:cNvPr id="5" name="Group 5"/>
            <p:cNvGrpSpPr>
              <a:grpSpLocks noChangeAspect="1"/>
            </p:cNvGrpSpPr>
            <p:nvPr/>
          </p:nvGrpSpPr>
          <p:grpSpPr>
            <a:xfrm>
              <a:off x="2326514" y="1816890"/>
              <a:ext cx="1552931" cy="1552925"/>
              <a:chOff x="0" y="0"/>
              <a:chExt cx="6350025" cy="6350000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0" y="0"/>
                <a:ext cx="6350026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50026" h="6350000">
                    <a:moveTo>
                      <a:pt x="0" y="0"/>
                    </a:moveTo>
                    <a:lnTo>
                      <a:pt x="6350026" y="0"/>
                    </a:lnTo>
                    <a:lnTo>
                      <a:pt x="6350026" y="6350000"/>
                    </a:lnTo>
                    <a:lnTo>
                      <a:pt x="0" y="6350000"/>
                    </a:lnTo>
                    <a:close/>
                  </a:path>
                </a:pathLst>
              </a:custGeom>
              <a:solidFill>
                <a:srgbClr val="002060"/>
              </a:solidFill>
              <a:ln>
                <a:solidFill>
                  <a:srgbClr val="000000"/>
                </a:solidFill>
              </a:ln>
            </p:spPr>
          </p:sp>
        </p:grpSp>
        <p:pic>
          <p:nvPicPr>
            <p:cNvPr id="69" name="Picture 4" descr="Free Trees during Day Stock Photo">
              <a:extLst>
                <a:ext uri="{FF2B5EF4-FFF2-40B4-BE49-F238E27FC236}">
                  <a16:creationId xmlns:a16="http://schemas.microsoft.com/office/drawing/2014/main" id="{4A46C32D-8EAD-4D59-8C4C-18B4CE71741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058" b="61770"/>
            <a:stretch/>
          </p:blipFill>
          <p:spPr bwMode="auto">
            <a:xfrm rot="5400000">
              <a:off x="2165804" y="1674659"/>
              <a:ext cx="1661881" cy="16618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72D33046-6BB7-4271-8AFA-AA097376F27A}"/>
              </a:ext>
            </a:extLst>
          </p:cNvPr>
          <p:cNvGrpSpPr/>
          <p:nvPr/>
        </p:nvGrpSpPr>
        <p:grpSpPr>
          <a:xfrm>
            <a:off x="4201951" y="1602740"/>
            <a:ext cx="1615031" cy="1695163"/>
            <a:chOff x="4183601" y="1674652"/>
            <a:chExt cx="1615031" cy="1695163"/>
          </a:xfrm>
        </p:grpSpPr>
        <p:grpSp>
          <p:nvGrpSpPr>
            <p:cNvPr id="7" name="Group 7"/>
            <p:cNvGrpSpPr>
              <a:grpSpLocks noChangeAspect="1"/>
            </p:cNvGrpSpPr>
            <p:nvPr/>
          </p:nvGrpSpPr>
          <p:grpSpPr>
            <a:xfrm>
              <a:off x="4245701" y="1816890"/>
              <a:ext cx="1552931" cy="1552925"/>
              <a:chOff x="0" y="0"/>
              <a:chExt cx="6350025" cy="6350000"/>
            </a:xfrm>
          </p:grpSpPr>
          <p:sp>
            <p:nvSpPr>
              <p:cNvPr id="8" name="Freeform 8"/>
              <p:cNvSpPr/>
              <p:nvPr/>
            </p:nvSpPr>
            <p:spPr>
              <a:xfrm>
                <a:off x="0" y="0"/>
                <a:ext cx="6350026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50026" h="6350000">
                    <a:moveTo>
                      <a:pt x="0" y="0"/>
                    </a:moveTo>
                    <a:lnTo>
                      <a:pt x="6350026" y="0"/>
                    </a:lnTo>
                    <a:lnTo>
                      <a:pt x="6350026" y="6350000"/>
                    </a:lnTo>
                    <a:lnTo>
                      <a:pt x="0" y="6350000"/>
                    </a:lnTo>
                    <a:close/>
                  </a:path>
                </a:pathLst>
              </a:custGeom>
              <a:solidFill>
                <a:srgbClr val="002060"/>
              </a:solidFill>
              <a:ln>
                <a:solidFill>
                  <a:srgbClr val="000000"/>
                </a:solidFill>
              </a:ln>
            </p:spPr>
          </p:sp>
        </p:grpSp>
        <p:pic>
          <p:nvPicPr>
            <p:cNvPr id="78" name="Picture 6" descr="Free People Standing on Tramway Stock Photo">
              <a:extLst>
                <a:ext uri="{FF2B5EF4-FFF2-40B4-BE49-F238E27FC236}">
                  <a16:creationId xmlns:a16="http://schemas.microsoft.com/office/drawing/2014/main" id="{CD42CF58-FD42-40F2-B46F-0492A207AD3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627" t="19885" r="41956" b="20025"/>
            <a:stretch/>
          </p:blipFill>
          <p:spPr bwMode="auto">
            <a:xfrm>
              <a:off x="4183601" y="1674652"/>
              <a:ext cx="1566000" cy="16580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1A2CEF5A-E549-4A5B-A1AE-2B381C42C254}"/>
              </a:ext>
            </a:extLst>
          </p:cNvPr>
          <p:cNvGrpSpPr/>
          <p:nvPr/>
        </p:nvGrpSpPr>
        <p:grpSpPr>
          <a:xfrm>
            <a:off x="6250416" y="1602740"/>
            <a:ext cx="1601986" cy="1695163"/>
            <a:chOff x="6125204" y="1674652"/>
            <a:chExt cx="1601986" cy="1695163"/>
          </a:xfrm>
        </p:grpSpPr>
        <p:grpSp>
          <p:nvGrpSpPr>
            <p:cNvPr id="9" name="Group 9"/>
            <p:cNvGrpSpPr>
              <a:grpSpLocks noChangeAspect="1"/>
            </p:cNvGrpSpPr>
            <p:nvPr/>
          </p:nvGrpSpPr>
          <p:grpSpPr>
            <a:xfrm>
              <a:off x="6174259" y="1816890"/>
              <a:ext cx="1552931" cy="1552925"/>
              <a:chOff x="0" y="0"/>
              <a:chExt cx="6350025" cy="6350000"/>
            </a:xfrm>
          </p:grpSpPr>
          <p:sp>
            <p:nvSpPr>
              <p:cNvPr id="10" name="Freeform 10"/>
              <p:cNvSpPr/>
              <p:nvPr/>
            </p:nvSpPr>
            <p:spPr>
              <a:xfrm>
                <a:off x="0" y="0"/>
                <a:ext cx="6350026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50026" h="6350000">
                    <a:moveTo>
                      <a:pt x="0" y="0"/>
                    </a:moveTo>
                    <a:lnTo>
                      <a:pt x="6350026" y="0"/>
                    </a:lnTo>
                    <a:lnTo>
                      <a:pt x="6350026" y="6350000"/>
                    </a:lnTo>
                    <a:lnTo>
                      <a:pt x="0" y="6350000"/>
                    </a:lnTo>
                    <a:close/>
                  </a:path>
                </a:pathLst>
              </a:custGeom>
              <a:solidFill>
                <a:srgbClr val="002060"/>
              </a:solidFill>
              <a:ln>
                <a:solidFill>
                  <a:srgbClr val="000000"/>
                </a:solidFill>
              </a:ln>
            </p:spPr>
          </p:sp>
        </p:grpSp>
        <p:pic>
          <p:nvPicPr>
            <p:cNvPr id="83" name="Picture 8" descr="Free Books in Black Wooden Book Shelf Stock Photo">
              <a:extLst>
                <a:ext uri="{FF2B5EF4-FFF2-40B4-BE49-F238E27FC236}">
                  <a16:creationId xmlns:a16="http://schemas.microsoft.com/office/drawing/2014/main" id="{8CE7773A-528A-4496-84C9-D1FF8A5F641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886" t="37721" r="1"/>
            <a:stretch/>
          </p:blipFill>
          <p:spPr bwMode="auto">
            <a:xfrm>
              <a:off x="6125204" y="1674652"/>
              <a:ext cx="1536976" cy="16505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5E4245AF-52CD-4E11-BB4F-D3A0E44D3F30}"/>
              </a:ext>
            </a:extLst>
          </p:cNvPr>
          <p:cNvGrpSpPr/>
          <p:nvPr/>
        </p:nvGrpSpPr>
        <p:grpSpPr>
          <a:xfrm>
            <a:off x="8381928" y="1602740"/>
            <a:ext cx="1601833" cy="1682463"/>
            <a:chOff x="8097859" y="1674652"/>
            <a:chExt cx="1601833" cy="1682463"/>
          </a:xfrm>
        </p:grpSpPr>
        <p:grpSp>
          <p:nvGrpSpPr>
            <p:cNvPr id="48" name="Group 9">
              <a:extLst>
                <a:ext uri="{FF2B5EF4-FFF2-40B4-BE49-F238E27FC236}">
                  <a16:creationId xmlns:a16="http://schemas.microsoft.com/office/drawing/2014/main" id="{628B6545-7776-4E5B-85F9-2FD1B105C77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46761" y="1804190"/>
              <a:ext cx="1552931" cy="1552925"/>
              <a:chOff x="0" y="0"/>
              <a:chExt cx="6350025" cy="6350000"/>
            </a:xfrm>
          </p:grpSpPr>
          <p:sp>
            <p:nvSpPr>
              <p:cNvPr id="49" name="Freeform 10">
                <a:extLst>
                  <a:ext uri="{FF2B5EF4-FFF2-40B4-BE49-F238E27FC236}">
                    <a16:creationId xmlns:a16="http://schemas.microsoft.com/office/drawing/2014/main" id="{79D3C30D-B067-4BC0-8F6C-41CF5BE9AF0C}"/>
                  </a:ext>
                </a:extLst>
              </p:cNvPr>
              <p:cNvSpPr/>
              <p:nvPr/>
            </p:nvSpPr>
            <p:spPr>
              <a:xfrm>
                <a:off x="0" y="0"/>
                <a:ext cx="6350026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50026" h="6350000">
                    <a:moveTo>
                      <a:pt x="0" y="0"/>
                    </a:moveTo>
                    <a:lnTo>
                      <a:pt x="6350026" y="0"/>
                    </a:lnTo>
                    <a:lnTo>
                      <a:pt x="6350026" y="6350000"/>
                    </a:lnTo>
                    <a:lnTo>
                      <a:pt x="0" y="6350000"/>
                    </a:lnTo>
                    <a:close/>
                  </a:path>
                </a:pathLst>
              </a:custGeom>
              <a:solidFill>
                <a:srgbClr val="002060"/>
              </a:solidFill>
              <a:ln>
                <a:solidFill>
                  <a:srgbClr val="000000"/>
                </a:solidFill>
              </a:ln>
            </p:spPr>
          </p:sp>
        </p:grpSp>
        <p:pic>
          <p:nvPicPr>
            <p:cNvPr id="88" name="Picture 10" descr="Free Faceless multiracial sport team stacking hands on court Stock Photo">
              <a:extLst>
                <a:ext uri="{FF2B5EF4-FFF2-40B4-BE49-F238E27FC236}">
                  <a16:creationId xmlns:a16="http://schemas.microsoft.com/office/drawing/2014/main" id="{45426FDD-0F8E-4B21-B1A5-DAA3012DCDC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43" t="23035" r="30324" b="15137"/>
            <a:stretch/>
          </p:blipFill>
          <p:spPr bwMode="auto">
            <a:xfrm>
              <a:off x="8097859" y="1674652"/>
              <a:ext cx="1553904" cy="16505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7F277E4A-3B65-4E40-A4E6-ABCE7F80FBB1}"/>
              </a:ext>
            </a:extLst>
          </p:cNvPr>
          <p:cNvGrpSpPr/>
          <p:nvPr/>
        </p:nvGrpSpPr>
        <p:grpSpPr>
          <a:xfrm>
            <a:off x="10358840" y="1602740"/>
            <a:ext cx="1552931" cy="1682463"/>
            <a:chOff x="10184661" y="1674652"/>
            <a:chExt cx="1552931" cy="1682463"/>
          </a:xfrm>
        </p:grpSpPr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5CA4E047-A4BF-418E-A898-65CB5AC64E00}"/>
                </a:ext>
              </a:extLst>
            </p:cNvPr>
            <p:cNvSpPr/>
            <p:nvPr/>
          </p:nvSpPr>
          <p:spPr>
            <a:xfrm>
              <a:off x="10184661" y="1804190"/>
              <a:ext cx="1552931" cy="1552925"/>
            </a:xfrm>
            <a:custGeom>
              <a:avLst/>
              <a:gdLst/>
              <a:ahLst/>
              <a:cxnLst/>
              <a:rect l="l" t="t" r="r" b="b"/>
              <a:pathLst>
                <a:path w="6350026" h="6350000">
                  <a:moveTo>
                    <a:pt x="0" y="0"/>
                  </a:moveTo>
                  <a:lnTo>
                    <a:pt x="6350026" y="0"/>
                  </a:lnTo>
                  <a:lnTo>
                    <a:pt x="6350026" y="6350000"/>
                  </a:lnTo>
                  <a:lnTo>
                    <a:pt x="0" y="6350000"/>
                  </a:lnTo>
                  <a:close/>
                </a:path>
              </a:pathLst>
            </a:custGeom>
            <a:solidFill>
              <a:srgbClr val="002060"/>
            </a:solidFill>
            <a:ln>
              <a:solidFill>
                <a:srgbClr val="000000"/>
              </a:solidFill>
            </a:ln>
          </p:spPr>
        </p:sp>
        <p:pic>
          <p:nvPicPr>
            <p:cNvPr id="93" name="Picture 12" descr="Free Close-up Photo of a Stethoscope Stock Photo">
              <a:extLst>
                <a:ext uri="{FF2B5EF4-FFF2-40B4-BE49-F238E27FC236}">
                  <a16:creationId xmlns:a16="http://schemas.microsoft.com/office/drawing/2014/main" id="{E2B3534B-BA0F-4C20-BAAA-64CAB818404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983" t="21281" r="37130" b="16684"/>
            <a:stretch/>
          </p:blipFill>
          <p:spPr bwMode="auto">
            <a:xfrm>
              <a:off x="10184661" y="1674652"/>
              <a:ext cx="1505686" cy="16560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8" name="TextBox 12">
            <a:extLst>
              <a:ext uri="{FF2B5EF4-FFF2-40B4-BE49-F238E27FC236}">
                <a16:creationId xmlns:a16="http://schemas.microsoft.com/office/drawing/2014/main" id="{2B086A9D-6159-4279-B667-0420272BC615}"/>
              </a:ext>
            </a:extLst>
          </p:cNvPr>
          <p:cNvSpPr txBox="1"/>
          <p:nvPr/>
        </p:nvSpPr>
        <p:spPr>
          <a:xfrm>
            <a:off x="147199" y="3421412"/>
            <a:ext cx="1914574" cy="2866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2613"/>
              </a:lnSpc>
              <a:spcBef>
                <a:spcPct val="0"/>
              </a:spcBef>
            </a:pPr>
            <a:r>
              <a:rPr lang="en-US" sz="1400" b="1" dirty="0">
                <a:solidFill>
                  <a:srgbClr val="002060"/>
                </a:solidFill>
                <a:latin typeface="Graphik Black" panose="020B0A03030202060203" pitchFamily="34" charset="0"/>
              </a:rPr>
              <a:t>DIGITALIZZAZIONE</a:t>
            </a:r>
          </a:p>
        </p:txBody>
      </p:sp>
      <p:sp>
        <p:nvSpPr>
          <p:cNvPr id="99" name="TextBox 12">
            <a:extLst>
              <a:ext uri="{FF2B5EF4-FFF2-40B4-BE49-F238E27FC236}">
                <a16:creationId xmlns:a16="http://schemas.microsoft.com/office/drawing/2014/main" id="{B508C757-E0C9-4FB0-935F-0D4D897401CF}"/>
              </a:ext>
            </a:extLst>
          </p:cNvPr>
          <p:cNvSpPr txBox="1"/>
          <p:nvPr/>
        </p:nvSpPr>
        <p:spPr>
          <a:xfrm>
            <a:off x="6094122" y="3434907"/>
            <a:ext cx="1914574" cy="6200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2613"/>
              </a:lnSpc>
              <a:spcBef>
                <a:spcPct val="0"/>
              </a:spcBef>
            </a:pPr>
            <a:r>
              <a:rPr lang="en-US" sz="1400" b="1" dirty="0">
                <a:solidFill>
                  <a:srgbClr val="002060"/>
                </a:solidFill>
                <a:latin typeface="Graphik Black" panose="020B0A03030202060203" pitchFamily="34" charset="0"/>
              </a:rPr>
              <a:t>RICERCA E </a:t>
            </a:r>
          </a:p>
          <a:p>
            <a:pPr algn="ctr" defTabSz="609630">
              <a:lnSpc>
                <a:spcPts val="2613"/>
              </a:lnSpc>
              <a:spcBef>
                <a:spcPct val="0"/>
              </a:spcBef>
            </a:pPr>
            <a:r>
              <a:rPr lang="en-US" sz="1400" b="1" dirty="0">
                <a:solidFill>
                  <a:srgbClr val="002060"/>
                </a:solidFill>
                <a:latin typeface="Graphik Black" panose="020B0A03030202060203" pitchFamily="34" charset="0"/>
              </a:rPr>
              <a:t>SCUOLA</a:t>
            </a:r>
          </a:p>
        </p:txBody>
      </p:sp>
      <p:sp>
        <p:nvSpPr>
          <p:cNvPr id="100" name="TextBox 13">
            <a:extLst>
              <a:ext uri="{FF2B5EF4-FFF2-40B4-BE49-F238E27FC236}">
                <a16:creationId xmlns:a16="http://schemas.microsoft.com/office/drawing/2014/main" id="{019F9EDD-6F13-42A7-B974-529C5BDAA064}"/>
              </a:ext>
            </a:extLst>
          </p:cNvPr>
          <p:cNvSpPr txBox="1"/>
          <p:nvPr/>
        </p:nvSpPr>
        <p:spPr>
          <a:xfrm>
            <a:off x="6028414" y="4184712"/>
            <a:ext cx="2045990" cy="25070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it-IT"/>
            </a:defPPr>
            <a:lvl1pPr marL="171450" indent="-171450" defTabSz="609630">
              <a:lnSpc>
                <a:spcPct val="150000"/>
              </a:lnSpc>
              <a:buFont typeface="Arial" panose="020B0604020202020204" pitchFamily="34" charset="0"/>
              <a:buChar char="•"/>
              <a:defRPr sz="1199">
                <a:solidFill>
                  <a:srgbClr val="F4F4F4"/>
                </a:solidFill>
                <a:latin typeface="Graphik" panose="020B0503030202060203" pitchFamily="34" charset="0"/>
              </a:defRPr>
            </a:lvl1pPr>
          </a:lstStyle>
          <a:p>
            <a:r>
              <a:rPr lang="it-IT" sz="1100" dirty="0">
                <a:solidFill>
                  <a:srgbClr val="002060"/>
                </a:solidFill>
              </a:rPr>
              <a:t>Asili nido, scuole materne e servizi di educazione e cura per la prima infanzia </a:t>
            </a:r>
          </a:p>
          <a:p>
            <a:r>
              <a:rPr lang="it-IT" sz="1100" dirty="0">
                <a:solidFill>
                  <a:srgbClr val="002060"/>
                </a:solidFill>
              </a:rPr>
              <a:t>Scuola 4.0  </a:t>
            </a:r>
          </a:p>
          <a:p>
            <a:r>
              <a:rPr lang="it-IT" sz="1100" dirty="0">
                <a:solidFill>
                  <a:srgbClr val="002060"/>
                </a:solidFill>
              </a:rPr>
              <a:t>Formazione degli insegnanti e rafforzamento dell’istruzione nelle discipline STEM </a:t>
            </a:r>
          </a:p>
        </p:txBody>
      </p:sp>
      <p:sp>
        <p:nvSpPr>
          <p:cNvPr id="101" name="TextBox 12">
            <a:extLst>
              <a:ext uri="{FF2B5EF4-FFF2-40B4-BE49-F238E27FC236}">
                <a16:creationId xmlns:a16="http://schemas.microsoft.com/office/drawing/2014/main" id="{4BA69AC9-67E5-4306-8952-1DD0E465568D}"/>
              </a:ext>
            </a:extLst>
          </p:cNvPr>
          <p:cNvSpPr txBox="1"/>
          <p:nvPr/>
        </p:nvSpPr>
        <p:spPr>
          <a:xfrm>
            <a:off x="8225557" y="3434907"/>
            <a:ext cx="1914574" cy="6200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2613"/>
              </a:lnSpc>
              <a:spcBef>
                <a:spcPct val="0"/>
              </a:spcBef>
            </a:pPr>
            <a:r>
              <a:rPr lang="en-US" sz="1400" b="1" dirty="0">
                <a:solidFill>
                  <a:srgbClr val="002060"/>
                </a:solidFill>
                <a:latin typeface="Graphik Black" panose="020B0A03030202060203" pitchFamily="34" charset="0"/>
              </a:rPr>
              <a:t>INCLUSIONE E COESIONE</a:t>
            </a:r>
          </a:p>
        </p:txBody>
      </p:sp>
      <p:sp>
        <p:nvSpPr>
          <p:cNvPr id="102" name="TextBox 13">
            <a:extLst>
              <a:ext uri="{FF2B5EF4-FFF2-40B4-BE49-F238E27FC236}">
                <a16:creationId xmlns:a16="http://schemas.microsoft.com/office/drawing/2014/main" id="{18E076B5-707C-4C6A-B29A-7A84CF746196}"/>
              </a:ext>
            </a:extLst>
          </p:cNvPr>
          <p:cNvSpPr txBox="1"/>
          <p:nvPr/>
        </p:nvSpPr>
        <p:spPr>
          <a:xfrm>
            <a:off x="8252849" y="4184712"/>
            <a:ext cx="1859991" cy="250703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it-IT"/>
            </a:defPPr>
            <a:lvl1pPr marL="171450" indent="-171450" defTabSz="609630">
              <a:lnSpc>
                <a:spcPct val="150000"/>
              </a:lnSpc>
              <a:buFont typeface="Arial" panose="020B0604020202020204" pitchFamily="34" charset="0"/>
              <a:buChar char="•"/>
              <a:defRPr sz="1199">
                <a:solidFill>
                  <a:srgbClr val="F4F4F4"/>
                </a:solidFill>
                <a:latin typeface="Graphik" panose="020B0503030202060203" pitchFamily="34" charset="0"/>
              </a:defRPr>
            </a:lvl1pPr>
          </a:lstStyle>
          <a:p>
            <a:r>
              <a:rPr lang="it-IT" sz="1100" dirty="0">
                <a:solidFill>
                  <a:srgbClr val="002060"/>
                </a:solidFill>
              </a:rPr>
              <a:t>Politiche attive del lavoro e sviluppo di centri per l’impiego</a:t>
            </a:r>
          </a:p>
          <a:p>
            <a:r>
              <a:rPr lang="it-IT" sz="1100" dirty="0">
                <a:solidFill>
                  <a:srgbClr val="002060"/>
                </a:solidFill>
              </a:rPr>
              <a:t>Investimenti infrastrutturali per le Zone Economiche Speciali</a:t>
            </a:r>
          </a:p>
          <a:p>
            <a:r>
              <a:rPr lang="it-IT" sz="1100" dirty="0">
                <a:solidFill>
                  <a:srgbClr val="002060"/>
                </a:solidFill>
              </a:rPr>
              <a:t>Piani urbani  integrati per le periferie delle città metropolitane </a:t>
            </a:r>
          </a:p>
        </p:txBody>
      </p:sp>
      <p:sp>
        <p:nvSpPr>
          <p:cNvPr id="103" name="TextBox 12">
            <a:extLst>
              <a:ext uri="{FF2B5EF4-FFF2-40B4-BE49-F238E27FC236}">
                <a16:creationId xmlns:a16="http://schemas.microsoft.com/office/drawing/2014/main" id="{45BAE522-2E58-4C1E-8BFA-226052CD5045}"/>
              </a:ext>
            </a:extLst>
          </p:cNvPr>
          <p:cNvSpPr txBox="1"/>
          <p:nvPr/>
        </p:nvSpPr>
        <p:spPr>
          <a:xfrm>
            <a:off x="10178018" y="3414741"/>
            <a:ext cx="1914574" cy="28661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lnSpc>
                <a:spcPts val="2613"/>
              </a:lnSpc>
              <a:spcBef>
                <a:spcPct val="0"/>
              </a:spcBef>
            </a:pPr>
            <a:r>
              <a:rPr lang="en-US" sz="1400" b="1" dirty="0">
                <a:solidFill>
                  <a:srgbClr val="002060"/>
                </a:solidFill>
                <a:latin typeface="Graphik Black" panose="020B0A03030202060203" pitchFamily="34" charset="0"/>
              </a:rPr>
              <a:t>SALUTE</a:t>
            </a:r>
          </a:p>
        </p:txBody>
      </p:sp>
      <p:sp>
        <p:nvSpPr>
          <p:cNvPr id="104" name="TextBox 13">
            <a:extLst>
              <a:ext uri="{FF2B5EF4-FFF2-40B4-BE49-F238E27FC236}">
                <a16:creationId xmlns:a16="http://schemas.microsoft.com/office/drawing/2014/main" id="{11029ADD-DB9E-4FFF-8696-4881EC094A6F}"/>
              </a:ext>
            </a:extLst>
          </p:cNvPr>
          <p:cNvSpPr txBox="1"/>
          <p:nvPr/>
        </p:nvSpPr>
        <p:spPr>
          <a:xfrm>
            <a:off x="10289855" y="4184712"/>
            <a:ext cx="1690901" cy="22531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>
            <a:defPPr>
              <a:defRPr lang="it-IT"/>
            </a:defPPr>
            <a:lvl1pPr marL="171450" indent="-171450" defTabSz="609630">
              <a:lnSpc>
                <a:spcPct val="150000"/>
              </a:lnSpc>
              <a:buFont typeface="Arial" panose="020B0604020202020204" pitchFamily="34" charset="0"/>
              <a:buChar char="•"/>
              <a:defRPr sz="1199">
                <a:solidFill>
                  <a:srgbClr val="F4F4F4"/>
                </a:solidFill>
                <a:latin typeface="Graphik" panose="020B0503030202060203" pitchFamily="34" charset="0"/>
              </a:defRPr>
            </a:lvl1pPr>
          </a:lstStyle>
          <a:p>
            <a:r>
              <a:rPr lang="it-IT" sz="1100" dirty="0">
                <a:solidFill>
                  <a:srgbClr val="002060"/>
                </a:solidFill>
              </a:rPr>
              <a:t>Assistenza di prossimità diffusa sul territorio e cure primarie e intermedie</a:t>
            </a:r>
          </a:p>
          <a:p>
            <a:r>
              <a:rPr lang="it-IT" sz="1100" dirty="0">
                <a:solidFill>
                  <a:srgbClr val="002060"/>
                </a:solidFill>
              </a:rPr>
              <a:t>Potenziamento dell’assistenza domiciliare </a:t>
            </a:r>
          </a:p>
          <a:p>
            <a:r>
              <a:rPr lang="it-IT" sz="1100" dirty="0">
                <a:solidFill>
                  <a:srgbClr val="002060"/>
                </a:solidFill>
              </a:rPr>
              <a:t>Telemedicina e assistenza remota</a:t>
            </a:r>
          </a:p>
        </p:txBody>
      </p:sp>
      <p:pic>
        <p:nvPicPr>
          <p:cNvPr id="115" name="Immagine 37">
            <a:extLst>
              <a:ext uri="{FF2B5EF4-FFF2-40B4-BE49-F238E27FC236}">
                <a16:creationId xmlns:a16="http://schemas.microsoft.com/office/drawing/2014/main" id="{0F9F238C-0601-4802-8158-2351585FD77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49" t="30501" r="9436" b="35012"/>
          <a:stretch/>
        </p:blipFill>
        <p:spPr>
          <a:xfrm>
            <a:off x="10784552" y="232055"/>
            <a:ext cx="1195591" cy="374645"/>
          </a:xfrm>
          <a:prstGeom prst="rect">
            <a:avLst/>
          </a:prstGeom>
        </p:spPr>
      </p:pic>
      <p:sp>
        <p:nvSpPr>
          <p:cNvPr id="116" name="AutoShape 2">
            <a:extLst>
              <a:ext uri="{FF2B5EF4-FFF2-40B4-BE49-F238E27FC236}">
                <a16:creationId xmlns:a16="http://schemas.microsoft.com/office/drawing/2014/main" id="{552A35E4-4D21-4E70-A7CF-2A0258D5F933}"/>
              </a:ext>
            </a:extLst>
          </p:cNvPr>
          <p:cNvSpPr/>
          <p:nvPr/>
        </p:nvSpPr>
        <p:spPr>
          <a:xfrm>
            <a:off x="0" y="1"/>
            <a:ext cx="12192000" cy="1475273"/>
          </a:xfrm>
          <a:prstGeom prst="rect">
            <a:avLst/>
          </a:prstGeom>
          <a:solidFill>
            <a:srgbClr val="1D3880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918A5059-7D3E-4C07-BE1D-945E9D5DFC19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6" t="48168" r="984" b="33433"/>
          <a:stretch/>
        </p:blipFill>
        <p:spPr>
          <a:xfrm>
            <a:off x="43315" y="-8485"/>
            <a:ext cx="12148685" cy="1503700"/>
          </a:xfrm>
          <a:prstGeom prst="rect">
            <a:avLst/>
          </a:prstGeom>
        </p:spPr>
      </p:pic>
      <p:sp>
        <p:nvSpPr>
          <p:cNvPr id="118" name="TextBox 16">
            <a:extLst>
              <a:ext uri="{FF2B5EF4-FFF2-40B4-BE49-F238E27FC236}">
                <a16:creationId xmlns:a16="http://schemas.microsoft.com/office/drawing/2014/main" id="{939D5072-284A-4302-97EB-A855482C999A}"/>
              </a:ext>
            </a:extLst>
          </p:cNvPr>
          <p:cNvSpPr txBox="1"/>
          <p:nvPr/>
        </p:nvSpPr>
        <p:spPr>
          <a:xfrm>
            <a:off x="607349" y="914614"/>
            <a:ext cx="11541336" cy="2373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spc="12" dirty="0">
                <a:solidFill>
                  <a:srgbClr val="FFFFFF"/>
                </a:solidFill>
                <a:latin typeface="Graphik Black" panose="020B0A03030202060203" pitchFamily="34" charset="0"/>
              </a:rPr>
              <a:t>I SETTORI STRATEGICI</a:t>
            </a:r>
            <a:endParaRPr kumimoji="0" lang="en-US" sz="3200" b="1" i="0" u="none" strike="noStrike" kern="1200" cap="none" spc="12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lack" panose="020B0A03030202060203" pitchFamily="34" charset="0"/>
            </a:endParaRPr>
          </a:p>
        </p:txBody>
      </p:sp>
      <p:pic>
        <p:nvPicPr>
          <p:cNvPr id="119" name="Picture 118" descr="Logo&#10;&#10;Description automatically generated">
            <a:extLst>
              <a:ext uri="{FF2B5EF4-FFF2-40B4-BE49-F238E27FC236}">
                <a16:creationId xmlns:a16="http://schemas.microsoft.com/office/drawing/2014/main" id="{B3F12A63-E12F-4694-9340-32C0EDA2CD8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671803" y="6406830"/>
            <a:ext cx="351082" cy="294908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" name="Immagine 37">
            <a:extLst>
              <a:ext uri="{FF2B5EF4-FFF2-40B4-BE49-F238E27FC236}">
                <a16:creationId xmlns:a16="http://schemas.microsoft.com/office/drawing/2014/main" id="{0F9F238C-0601-4802-8158-2351585FD7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49" t="30501" r="9436" b="35012"/>
          <a:stretch/>
        </p:blipFill>
        <p:spPr>
          <a:xfrm>
            <a:off x="10784552" y="232055"/>
            <a:ext cx="1195591" cy="374645"/>
          </a:xfrm>
          <a:prstGeom prst="rect">
            <a:avLst/>
          </a:prstGeom>
        </p:spPr>
      </p:pic>
      <p:sp>
        <p:nvSpPr>
          <p:cNvPr id="116" name="AutoShape 2">
            <a:extLst>
              <a:ext uri="{FF2B5EF4-FFF2-40B4-BE49-F238E27FC236}">
                <a16:creationId xmlns:a16="http://schemas.microsoft.com/office/drawing/2014/main" id="{552A35E4-4D21-4E70-A7CF-2A0258D5F933}"/>
              </a:ext>
            </a:extLst>
          </p:cNvPr>
          <p:cNvSpPr/>
          <p:nvPr/>
        </p:nvSpPr>
        <p:spPr>
          <a:xfrm>
            <a:off x="0" y="1"/>
            <a:ext cx="12192000" cy="1475273"/>
          </a:xfrm>
          <a:prstGeom prst="rect">
            <a:avLst/>
          </a:prstGeom>
          <a:solidFill>
            <a:srgbClr val="1D3880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918A5059-7D3E-4C07-BE1D-945E9D5DFC1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6" t="48168" r="984" b="33433"/>
          <a:stretch/>
        </p:blipFill>
        <p:spPr>
          <a:xfrm>
            <a:off x="43315" y="-8485"/>
            <a:ext cx="12148685" cy="1503700"/>
          </a:xfrm>
          <a:prstGeom prst="rect">
            <a:avLst/>
          </a:prstGeom>
        </p:spPr>
      </p:pic>
      <p:sp>
        <p:nvSpPr>
          <p:cNvPr id="118" name="TextBox 16">
            <a:extLst>
              <a:ext uri="{FF2B5EF4-FFF2-40B4-BE49-F238E27FC236}">
                <a16:creationId xmlns:a16="http://schemas.microsoft.com/office/drawing/2014/main" id="{939D5072-284A-4302-97EB-A855482C999A}"/>
              </a:ext>
            </a:extLst>
          </p:cNvPr>
          <p:cNvSpPr txBox="1"/>
          <p:nvPr/>
        </p:nvSpPr>
        <p:spPr>
          <a:xfrm>
            <a:off x="607349" y="914614"/>
            <a:ext cx="11541336" cy="2373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spc="12" dirty="0">
                <a:solidFill>
                  <a:srgbClr val="FFFFFF"/>
                </a:solidFill>
                <a:latin typeface="Graphik Black" panose="020B0A03030202060203" pitchFamily="34" charset="0"/>
              </a:rPr>
              <a:t>LE CONDIZIONALITÀ DEL PIANO</a:t>
            </a:r>
            <a:endParaRPr kumimoji="0" lang="en-US" sz="3200" b="1" i="0" u="none" strike="noStrike" kern="1200" cap="none" spc="12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lack" panose="020B0A03030202060203" pitchFamily="34" charset="0"/>
            </a:endParaRPr>
          </a:p>
        </p:txBody>
      </p:sp>
      <p:pic>
        <p:nvPicPr>
          <p:cNvPr id="119" name="Picture 118" descr="Logo&#10;&#10;Description automatically generated">
            <a:extLst>
              <a:ext uri="{FF2B5EF4-FFF2-40B4-BE49-F238E27FC236}">
                <a16:creationId xmlns:a16="http://schemas.microsoft.com/office/drawing/2014/main" id="{B3F12A63-E12F-4694-9340-32C0EDA2CD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71803" y="6406830"/>
            <a:ext cx="351082" cy="294908"/>
          </a:xfrm>
          <a:prstGeom prst="rect">
            <a:avLst/>
          </a:prstGeom>
        </p:spPr>
      </p:pic>
      <p:sp>
        <p:nvSpPr>
          <p:cNvPr id="51" name="Rettangolo 49">
            <a:extLst>
              <a:ext uri="{FF2B5EF4-FFF2-40B4-BE49-F238E27FC236}">
                <a16:creationId xmlns:a16="http://schemas.microsoft.com/office/drawing/2014/main" id="{DAABB292-B75E-4A2D-A4EF-50455E17B2DE}"/>
              </a:ext>
            </a:extLst>
          </p:cNvPr>
          <p:cNvSpPr/>
          <p:nvPr/>
        </p:nvSpPr>
        <p:spPr>
          <a:xfrm>
            <a:off x="3132956" y="6003829"/>
            <a:ext cx="6304490" cy="310509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/>
          <a:p>
            <a:pPr lvl="0">
              <a:lnSpc>
                <a:spcPct val="110000"/>
              </a:lnSpc>
              <a:defRPr/>
            </a:pPr>
            <a:r>
              <a:rPr lang="it-IT" sz="1600" b="1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VALORIZZAZIONE E NUOVE OPPORTUNITA’ PER I GIOVANI</a:t>
            </a:r>
          </a:p>
        </p:txBody>
      </p:sp>
      <p:pic>
        <p:nvPicPr>
          <p:cNvPr id="97" name="Picture 8">
            <a:extLst>
              <a:ext uri="{FF2B5EF4-FFF2-40B4-BE49-F238E27FC236}">
                <a16:creationId xmlns:a16="http://schemas.microsoft.com/office/drawing/2014/main" id="{D19A8E89-0434-4BC0-AC44-8FE634B5E90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p:blipFill>
        <p:spPr>
          <a:xfrm>
            <a:off x="1653012" y="5770063"/>
            <a:ext cx="605501" cy="644150"/>
          </a:xfrm>
          <a:prstGeom prst="rect">
            <a:avLst/>
          </a:prstGeom>
        </p:spPr>
      </p:pic>
      <p:sp>
        <p:nvSpPr>
          <p:cNvPr id="53" name="Rettangolo 52">
            <a:extLst>
              <a:ext uri="{FF2B5EF4-FFF2-40B4-BE49-F238E27FC236}">
                <a16:creationId xmlns:a16="http://schemas.microsoft.com/office/drawing/2014/main" id="{7B5CBACF-35E4-463B-B7A2-9F8483C3BD34}"/>
              </a:ext>
            </a:extLst>
          </p:cNvPr>
          <p:cNvSpPr/>
          <p:nvPr/>
        </p:nvSpPr>
        <p:spPr>
          <a:xfrm>
            <a:off x="3132956" y="4991861"/>
            <a:ext cx="3580311" cy="366910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/>
          <a:p>
            <a:pPr lvl="0">
              <a:lnSpc>
                <a:spcPct val="110000"/>
              </a:lnSpc>
              <a:defRPr/>
            </a:pPr>
            <a:r>
              <a:rPr lang="pt-BR" sz="1600" b="1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RIDUZIONE DIVARI TERRITORIALI</a:t>
            </a:r>
          </a:p>
        </p:txBody>
      </p:sp>
      <p:pic>
        <p:nvPicPr>
          <p:cNvPr id="110" name="Picture 10">
            <a:extLst>
              <a:ext uri="{FF2B5EF4-FFF2-40B4-BE49-F238E27FC236}">
                <a16:creationId xmlns:a16="http://schemas.microsoft.com/office/drawing/2014/main" id="{9174C8C6-F1BF-4286-BCFE-D434B3065C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p:blipFill>
        <p:spPr>
          <a:xfrm>
            <a:off x="1588692" y="4853241"/>
            <a:ext cx="644150" cy="644150"/>
          </a:xfrm>
          <a:prstGeom prst="rect">
            <a:avLst/>
          </a:prstGeom>
        </p:spPr>
      </p:pic>
      <p:sp>
        <p:nvSpPr>
          <p:cNvPr id="45" name="Rettangolo 43">
            <a:extLst>
              <a:ext uri="{FF2B5EF4-FFF2-40B4-BE49-F238E27FC236}">
                <a16:creationId xmlns:a16="http://schemas.microsoft.com/office/drawing/2014/main" id="{41FE7439-9497-4BF7-8907-BDAAECD8F718}"/>
              </a:ext>
            </a:extLst>
          </p:cNvPr>
          <p:cNvSpPr/>
          <p:nvPr/>
        </p:nvSpPr>
        <p:spPr>
          <a:xfrm>
            <a:off x="3132956" y="3005605"/>
            <a:ext cx="8208144" cy="255624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/>
          <a:p>
            <a:pPr lvl="0">
              <a:lnSpc>
                <a:spcPct val="110000"/>
              </a:lnSpc>
              <a:defRPr/>
            </a:pPr>
            <a:r>
              <a:rPr lang="pt-BR" sz="16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TRACCIARE GLI EFFETTI SU CLIMA E DIGITALIZZAZIONE</a:t>
            </a:r>
          </a:p>
        </p:txBody>
      </p:sp>
      <p:pic>
        <p:nvPicPr>
          <p:cNvPr id="112" name="Picture 13">
            <a:extLst>
              <a:ext uri="{FF2B5EF4-FFF2-40B4-BE49-F238E27FC236}">
                <a16:creationId xmlns:a16="http://schemas.microsoft.com/office/drawing/2014/main" id="{336F53A3-8652-4DA2-A3DC-4F6D01733B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p:blipFill>
        <p:spPr>
          <a:xfrm>
            <a:off x="1578430" y="2934310"/>
            <a:ext cx="779422" cy="398214"/>
          </a:xfrm>
          <a:prstGeom prst="rect">
            <a:avLst/>
          </a:prstGeom>
        </p:spPr>
      </p:pic>
      <p:sp>
        <p:nvSpPr>
          <p:cNvPr id="43" name="Rettangolo 39">
            <a:extLst>
              <a:ext uri="{FF2B5EF4-FFF2-40B4-BE49-F238E27FC236}">
                <a16:creationId xmlns:a16="http://schemas.microsoft.com/office/drawing/2014/main" id="{07E76D42-461E-4229-923F-B86EFD0D4304}"/>
              </a:ext>
            </a:extLst>
          </p:cNvPr>
          <p:cNvSpPr/>
          <p:nvPr/>
        </p:nvSpPr>
        <p:spPr>
          <a:xfrm>
            <a:off x="3132956" y="2066536"/>
            <a:ext cx="6170523" cy="255624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/>
          <a:p>
            <a:pPr>
              <a:lnSpc>
                <a:spcPct val="110000"/>
              </a:lnSpc>
              <a:defRPr/>
            </a:pPr>
            <a:r>
              <a:rPr lang="pt-BR" sz="16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NON CAUSARE DANNI AMBIENTALI (DO NO SIGNIFICANT HARM - DNSH)</a:t>
            </a:r>
          </a:p>
        </p:txBody>
      </p:sp>
      <p:pic>
        <p:nvPicPr>
          <p:cNvPr id="113" name="Picture 15">
            <a:extLst>
              <a:ext uri="{FF2B5EF4-FFF2-40B4-BE49-F238E27FC236}">
                <a16:creationId xmlns:a16="http://schemas.microsoft.com/office/drawing/2014/main" id="{DF0B931A-743D-4E3B-B8FA-D73665C0EC3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p:blipFill>
        <p:spPr>
          <a:xfrm>
            <a:off x="1578430" y="1821663"/>
            <a:ext cx="779422" cy="769502"/>
          </a:xfrm>
          <a:prstGeom prst="rect">
            <a:avLst/>
          </a:prstGeom>
        </p:spPr>
      </p:pic>
      <p:sp>
        <p:nvSpPr>
          <p:cNvPr id="47" name="Rettangolo 46">
            <a:extLst>
              <a:ext uri="{FF2B5EF4-FFF2-40B4-BE49-F238E27FC236}">
                <a16:creationId xmlns:a16="http://schemas.microsoft.com/office/drawing/2014/main" id="{5BA72113-EAC5-4B5B-AEF5-4D86CA7EC838}"/>
              </a:ext>
            </a:extLst>
          </p:cNvPr>
          <p:cNvSpPr/>
          <p:nvPr/>
        </p:nvSpPr>
        <p:spPr>
          <a:xfrm>
            <a:off x="3132956" y="3944674"/>
            <a:ext cx="3120532" cy="310509"/>
          </a:xfrm>
          <a:prstGeom prst="rect">
            <a:avLst/>
          </a:prstGeom>
        </p:spPr>
        <p:txBody>
          <a:bodyPr wrap="none" lIns="0" tIns="0" rIns="0" bIns="0" anchor="t">
            <a:noAutofit/>
          </a:bodyPr>
          <a:lstStyle/>
          <a:p>
            <a:r>
              <a:rPr lang="it-IT" sz="16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EQUITÀ DI GENERE</a:t>
            </a:r>
          </a:p>
        </p:txBody>
      </p:sp>
      <p:pic>
        <p:nvPicPr>
          <p:cNvPr id="114" name="Picture 6">
            <a:extLst>
              <a:ext uri="{FF2B5EF4-FFF2-40B4-BE49-F238E27FC236}">
                <a16:creationId xmlns:a16="http://schemas.microsoft.com/office/drawing/2014/main" id="{787811D4-440F-4D1F-B075-05A93893D31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>
            <a:fillRect/>
          </a:stretch>
        </p:blipFill>
        <p:spPr>
          <a:xfrm>
            <a:off x="1698224" y="3761715"/>
            <a:ext cx="539835" cy="72594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4C8A649-0B24-4EB8-B23A-411A38495822}"/>
              </a:ext>
            </a:extLst>
          </p:cNvPr>
          <p:cNvCxnSpPr>
            <a:cxnSpLocks/>
          </p:cNvCxnSpPr>
          <p:nvPr/>
        </p:nvCxnSpPr>
        <p:spPr>
          <a:xfrm>
            <a:off x="1168400" y="1609480"/>
            <a:ext cx="0" cy="5030410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430EECA-0730-4269-A4F9-C810432F9D27}"/>
              </a:ext>
            </a:extLst>
          </p:cNvPr>
          <p:cNvCxnSpPr>
            <a:cxnSpLocks/>
          </p:cNvCxnSpPr>
          <p:nvPr/>
        </p:nvCxnSpPr>
        <p:spPr>
          <a:xfrm>
            <a:off x="2743200" y="1609480"/>
            <a:ext cx="0" cy="5030410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62F6429-1F98-4A0D-A059-5BC630FEBE8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326741" y="6062588"/>
            <a:ext cx="1059183" cy="577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8220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0" name="Straight Connector 96">
            <a:extLst>
              <a:ext uri="{FF2B5EF4-FFF2-40B4-BE49-F238E27FC236}">
                <a16:creationId xmlns:a16="http://schemas.microsoft.com/office/drawing/2014/main" id="{12BC64B2-900C-4A9A-B386-BE6BD327F7CF}"/>
              </a:ext>
            </a:extLst>
          </p:cNvPr>
          <p:cNvCxnSpPr>
            <a:cxnSpLocks/>
          </p:cNvCxnSpPr>
          <p:nvPr/>
        </p:nvCxnSpPr>
        <p:spPr>
          <a:xfrm>
            <a:off x="9018233" y="2195025"/>
            <a:ext cx="941312" cy="1"/>
          </a:xfrm>
          <a:prstGeom prst="line">
            <a:avLst/>
          </a:prstGeom>
          <a:ln>
            <a:solidFill>
              <a:srgbClr val="22408E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6A61A2AF-0F56-4056-83A9-AC60D8E2AD52}"/>
              </a:ext>
            </a:extLst>
          </p:cNvPr>
          <p:cNvSpPr/>
          <p:nvPr/>
        </p:nvSpPr>
        <p:spPr>
          <a:xfrm>
            <a:off x="1" y="4634902"/>
            <a:ext cx="12192000" cy="16166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/>
            </a:endParaRPr>
          </a:p>
        </p:txBody>
      </p:sp>
      <p:sp>
        <p:nvSpPr>
          <p:cNvPr id="30" name="Rectangle: Top Corners Rounded 139">
            <a:extLst>
              <a:ext uri="{FF2B5EF4-FFF2-40B4-BE49-F238E27FC236}">
                <a16:creationId xmlns:a16="http://schemas.microsoft.com/office/drawing/2014/main" id="{1D3693D0-9E14-4E56-BEE1-3CD3863D4450}"/>
              </a:ext>
            </a:extLst>
          </p:cNvPr>
          <p:cNvSpPr/>
          <p:nvPr/>
        </p:nvSpPr>
        <p:spPr>
          <a:xfrm rot="16200000">
            <a:off x="7021" y="5298437"/>
            <a:ext cx="1494892" cy="197305"/>
          </a:xfrm>
          <a:prstGeom prst="round2SameRect">
            <a:avLst>
              <a:gd name="adj1" fmla="val 16667"/>
              <a:gd name="adj2" fmla="val 0"/>
            </a:avLst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ATTUAZION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A2643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/>
            </a:endParaRPr>
          </a:p>
        </p:txBody>
      </p:sp>
      <p:sp>
        <p:nvSpPr>
          <p:cNvPr id="31" name="Rectangle: Rounded Corners 163">
            <a:extLst>
              <a:ext uri="{FF2B5EF4-FFF2-40B4-BE49-F238E27FC236}">
                <a16:creationId xmlns:a16="http://schemas.microsoft.com/office/drawing/2014/main" id="{BEC443A6-4087-4015-93EC-AE18E150E743}"/>
              </a:ext>
            </a:extLst>
          </p:cNvPr>
          <p:cNvSpPr/>
          <p:nvPr/>
        </p:nvSpPr>
        <p:spPr>
          <a:xfrm>
            <a:off x="4739384" y="2392696"/>
            <a:ext cx="1535516" cy="384116"/>
          </a:xfrm>
          <a:prstGeom prst="roundRect">
            <a:avLst/>
          </a:pr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CABINA DI REGIA</a:t>
            </a:r>
          </a:p>
        </p:txBody>
      </p:sp>
      <p:sp>
        <p:nvSpPr>
          <p:cNvPr id="33" name="Rectangle: Rounded Corners 100">
            <a:extLst>
              <a:ext uri="{FF2B5EF4-FFF2-40B4-BE49-F238E27FC236}">
                <a16:creationId xmlns:a16="http://schemas.microsoft.com/office/drawing/2014/main" id="{E4695CFC-4E6F-4D88-AD59-127C3D099187}"/>
              </a:ext>
            </a:extLst>
          </p:cNvPr>
          <p:cNvSpPr/>
          <p:nvPr/>
        </p:nvSpPr>
        <p:spPr>
          <a:xfrm>
            <a:off x="4657655" y="4829149"/>
            <a:ext cx="3266597" cy="62441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22408E"/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Attuazione diretta da parte dell’Amministrazione</a:t>
            </a:r>
          </a:p>
        </p:txBody>
      </p:sp>
      <p:sp>
        <p:nvSpPr>
          <p:cNvPr id="34" name="Rectangle: Rounded Corners 147">
            <a:extLst>
              <a:ext uri="{FF2B5EF4-FFF2-40B4-BE49-F238E27FC236}">
                <a16:creationId xmlns:a16="http://schemas.microsoft.com/office/drawing/2014/main" id="{16F264CA-B172-4AC5-B67A-5DA068BECC96}"/>
              </a:ext>
            </a:extLst>
          </p:cNvPr>
          <p:cNvSpPr/>
          <p:nvPr/>
        </p:nvSpPr>
        <p:spPr>
          <a:xfrm>
            <a:off x="1820091" y="5208074"/>
            <a:ext cx="1874884" cy="737377"/>
          </a:xfrm>
          <a:prstGeom prst="roundRect">
            <a:avLst/>
          </a:pr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UNITA’ DI MISSIONE AMMINISTRAZIONE RESPONSABILE</a:t>
            </a:r>
          </a:p>
        </p:txBody>
      </p:sp>
      <p:sp>
        <p:nvSpPr>
          <p:cNvPr id="35" name="Rectangle: Rounded Corners 144">
            <a:extLst>
              <a:ext uri="{FF2B5EF4-FFF2-40B4-BE49-F238E27FC236}">
                <a16:creationId xmlns:a16="http://schemas.microsoft.com/office/drawing/2014/main" id="{88FEF1A3-434F-49CE-B81B-7F38E45BAA31}"/>
              </a:ext>
            </a:extLst>
          </p:cNvPr>
          <p:cNvSpPr/>
          <p:nvPr/>
        </p:nvSpPr>
        <p:spPr>
          <a:xfrm>
            <a:off x="4848963" y="3332560"/>
            <a:ext cx="2030933" cy="13889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RESPONSABILE PNRR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/>
            </a:endParaRPr>
          </a:p>
        </p:txBody>
      </p:sp>
      <p:sp>
        <p:nvSpPr>
          <p:cNvPr id="36" name="Rectangle: Rounded Corners 102">
            <a:extLst>
              <a:ext uri="{FF2B5EF4-FFF2-40B4-BE49-F238E27FC236}">
                <a16:creationId xmlns:a16="http://schemas.microsoft.com/office/drawing/2014/main" id="{9025F922-D122-4D3B-9B87-5C7EB75774D1}"/>
              </a:ext>
            </a:extLst>
          </p:cNvPr>
          <p:cNvSpPr/>
          <p:nvPr/>
        </p:nvSpPr>
        <p:spPr>
          <a:xfrm>
            <a:off x="9875321" y="1852453"/>
            <a:ext cx="1906071" cy="804762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TAVOLO PERMANENTE PER IL PARTENARIATO ECONOMICO, SOCIALE E TERRITORIALE</a:t>
            </a:r>
          </a:p>
        </p:txBody>
      </p:sp>
      <p:sp>
        <p:nvSpPr>
          <p:cNvPr id="37" name="Rectangle: Rounded Corners 103">
            <a:extLst>
              <a:ext uri="{FF2B5EF4-FFF2-40B4-BE49-F238E27FC236}">
                <a16:creationId xmlns:a16="http://schemas.microsoft.com/office/drawing/2014/main" id="{F1A2CFDA-2565-4ABA-B05B-E956996C05A4}"/>
              </a:ext>
            </a:extLst>
          </p:cNvPr>
          <p:cNvSpPr/>
          <p:nvPr/>
        </p:nvSpPr>
        <p:spPr>
          <a:xfrm>
            <a:off x="6596645" y="1815715"/>
            <a:ext cx="2588552" cy="724277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UNITÀ PER LA RAZIONALIZZAZIONE E IL MIGLIORAMENTO DELLA REGOLAZIONE</a:t>
            </a:r>
          </a:p>
        </p:txBody>
      </p:sp>
      <p:pic>
        <p:nvPicPr>
          <p:cNvPr id="39" name="Graphic 60" descr="User">
            <a:extLst>
              <a:ext uri="{FF2B5EF4-FFF2-40B4-BE49-F238E27FC236}">
                <a16:creationId xmlns:a16="http://schemas.microsoft.com/office/drawing/2014/main" id="{665248DF-CAFB-4712-8DB5-8674DCBD635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08723" y="3328989"/>
            <a:ext cx="178358" cy="191562"/>
          </a:xfrm>
          <a:prstGeom prst="rect">
            <a:avLst/>
          </a:prstGeom>
        </p:spPr>
      </p:pic>
      <p:sp>
        <p:nvSpPr>
          <p:cNvPr id="43" name="Rectangle: Rounded Corners 194">
            <a:extLst>
              <a:ext uri="{FF2B5EF4-FFF2-40B4-BE49-F238E27FC236}">
                <a16:creationId xmlns:a16="http://schemas.microsoft.com/office/drawing/2014/main" id="{042224D4-0DC6-483F-9A02-5D8CFA2482B4}"/>
              </a:ext>
            </a:extLst>
          </p:cNvPr>
          <p:cNvSpPr/>
          <p:nvPr/>
        </p:nvSpPr>
        <p:spPr>
          <a:xfrm>
            <a:off x="1130870" y="4793843"/>
            <a:ext cx="3253327" cy="30816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AMMINISTRAZIONI CENTRALI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/>
            </a:endParaRPr>
          </a:p>
        </p:txBody>
      </p:sp>
      <p:cxnSp>
        <p:nvCxnSpPr>
          <p:cNvPr id="44" name="Straight Connector 8">
            <a:extLst>
              <a:ext uri="{FF2B5EF4-FFF2-40B4-BE49-F238E27FC236}">
                <a16:creationId xmlns:a16="http://schemas.microsoft.com/office/drawing/2014/main" id="{3E01BE6D-B388-4E5B-B515-D740B7587F86}"/>
              </a:ext>
            </a:extLst>
          </p:cNvPr>
          <p:cNvCxnSpPr>
            <a:cxnSpLocks/>
          </p:cNvCxnSpPr>
          <p:nvPr/>
        </p:nvCxnSpPr>
        <p:spPr>
          <a:xfrm>
            <a:off x="1727770" y="3185144"/>
            <a:ext cx="766853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: Rounded Corners 49">
            <a:extLst>
              <a:ext uri="{FF2B5EF4-FFF2-40B4-BE49-F238E27FC236}">
                <a16:creationId xmlns:a16="http://schemas.microsoft.com/office/drawing/2014/main" id="{904951AE-B544-48DC-A436-2FF0C6ADC7BA}"/>
              </a:ext>
            </a:extLst>
          </p:cNvPr>
          <p:cNvSpPr/>
          <p:nvPr/>
        </p:nvSpPr>
        <p:spPr>
          <a:xfrm>
            <a:off x="4647356" y="5563670"/>
            <a:ext cx="3266597" cy="62441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">
            <a:solidFill>
              <a:srgbClr val="22408E"/>
            </a:solidFill>
            <a:prstDash val="lgDashDot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Attuazione e realizzazione attraverso soggetti diversi dall’Amministrazione </a:t>
            </a:r>
          </a:p>
        </p:txBody>
      </p:sp>
      <p:cxnSp>
        <p:nvCxnSpPr>
          <p:cNvPr id="46" name="Connector: Elbow 5">
            <a:extLst>
              <a:ext uri="{FF2B5EF4-FFF2-40B4-BE49-F238E27FC236}">
                <a16:creationId xmlns:a16="http://schemas.microsoft.com/office/drawing/2014/main" id="{3F14AE20-B526-414D-8802-F68E5A777509}"/>
              </a:ext>
            </a:extLst>
          </p:cNvPr>
          <p:cNvCxnSpPr>
            <a:cxnSpLocks/>
          </p:cNvCxnSpPr>
          <p:nvPr/>
        </p:nvCxnSpPr>
        <p:spPr>
          <a:xfrm flipV="1">
            <a:off x="3700141" y="5141358"/>
            <a:ext cx="952348" cy="393202"/>
          </a:xfrm>
          <a:prstGeom prst="bentConnector3">
            <a:avLst>
              <a:gd name="adj1" fmla="val 50000"/>
            </a:avLst>
          </a:prstGeom>
          <a:ln>
            <a:solidFill>
              <a:srgbClr val="22408E"/>
            </a:solidFill>
            <a:headEnd w="sm" len="sm"/>
            <a:tailEnd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or: Elbow 9">
            <a:extLst>
              <a:ext uri="{FF2B5EF4-FFF2-40B4-BE49-F238E27FC236}">
                <a16:creationId xmlns:a16="http://schemas.microsoft.com/office/drawing/2014/main" id="{9CD96B89-BC16-47BB-990D-72CAC1EADF0C}"/>
              </a:ext>
            </a:extLst>
          </p:cNvPr>
          <p:cNvCxnSpPr>
            <a:cxnSpLocks/>
            <a:endCxn id="45" idx="1"/>
          </p:cNvCxnSpPr>
          <p:nvPr/>
        </p:nvCxnSpPr>
        <p:spPr>
          <a:xfrm>
            <a:off x="3700141" y="5534560"/>
            <a:ext cx="947215" cy="341319"/>
          </a:xfrm>
          <a:prstGeom prst="bentConnector3">
            <a:avLst/>
          </a:prstGeom>
          <a:ln>
            <a:solidFill>
              <a:srgbClr val="22408E"/>
            </a:solidFill>
            <a:headEnd w="sm" len="sm"/>
            <a:tailEnd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: Rounded Corners 56">
            <a:extLst>
              <a:ext uri="{FF2B5EF4-FFF2-40B4-BE49-F238E27FC236}">
                <a16:creationId xmlns:a16="http://schemas.microsoft.com/office/drawing/2014/main" id="{9A7A9893-447C-44A1-BAE9-BFEA49DCBAF0}"/>
              </a:ext>
            </a:extLst>
          </p:cNvPr>
          <p:cNvSpPr/>
          <p:nvPr/>
        </p:nvSpPr>
        <p:spPr>
          <a:xfrm>
            <a:off x="8185578" y="5563670"/>
            <a:ext cx="3096839" cy="624417"/>
          </a:xfrm>
          <a:prstGeom prst="roundRect">
            <a:avLst/>
          </a:prstGeom>
          <a:solidFill>
            <a:srgbClr val="FFFFFF"/>
          </a:solidFill>
          <a:ln w="28575">
            <a:solidFill>
              <a:schemeClr val="tx1">
                <a:lumMod val="50000"/>
                <a:lumOff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SOGGETTI ATTUATOR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(</a:t>
            </a: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Amministrazioni Centrali, Regioni, Enti locali, altri organismi pubblici o privati)</a:t>
            </a:r>
          </a:p>
        </p:txBody>
      </p:sp>
      <p:cxnSp>
        <p:nvCxnSpPr>
          <p:cNvPr id="49" name="Straight Arrow Connector 12">
            <a:extLst>
              <a:ext uri="{FF2B5EF4-FFF2-40B4-BE49-F238E27FC236}">
                <a16:creationId xmlns:a16="http://schemas.microsoft.com/office/drawing/2014/main" id="{577727DC-D04A-4FBF-8E95-1A94FE22E323}"/>
              </a:ext>
            </a:extLst>
          </p:cNvPr>
          <p:cNvCxnSpPr>
            <a:cxnSpLocks/>
            <a:endCxn id="48" idx="1"/>
          </p:cNvCxnSpPr>
          <p:nvPr/>
        </p:nvCxnSpPr>
        <p:spPr>
          <a:xfrm flipV="1">
            <a:off x="7924253" y="5875879"/>
            <a:ext cx="261325" cy="6"/>
          </a:xfrm>
          <a:prstGeom prst="straightConnector1">
            <a:avLst/>
          </a:prstGeom>
          <a:ln>
            <a:solidFill>
              <a:srgbClr val="22408E"/>
            </a:solidFill>
            <a:headEnd w="sm" len="sm"/>
            <a:tailEnd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16">
            <a:extLst>
              <a:ext uri="{FF2B5EF4-FFF2-40B4-BE49-F238E27FC236}">
                <a16:creationId xmlns:a16="http://schemas.microsoft.com/office/drawing/2014/main" id="{78608647-4AB3-4061-94CC-A7A4201B0B90}"/>
              </a:ext>
            </a:extLst>
          </p:cNvPr>
          <p:cNvSpPr txBox="1"/>
          <p:nvPr/>
        </p:nvSpPr>
        <p:spPr>
          <a:xfrm>
            <a:off x="4657655" y="4602932"/>
            <a:ext cx="60122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1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Modalità di attuazione</a:t>
            </a:r>
          </a:p>
        </p:txBody>
      </p:sp>
      <p:sp>
        <p:nvSpPr>
          <p:cNvPr id="51" name="Rectangle: Rounded Corners 103">
            <a:extLst>
              <a:ext uri="{FF2B5EF4-FFF2-40B4-BE49-F238E27FC236}">
                <a16:creationId xmlns:a16="http://schemas.microsoft.com/office/drawing/2014/main" id="{EF6EC95D-77AB-4ED6-8D81-6F81AC20FA50}"/>
              </a:ext>
            </a:extLst>
          </p:cNvPr>
          <p:cNvSpPr/>
          <p:nvPr/>
        </p:nvSpPr>
        <p:spPr>
          <a:xfrm>
            <a:off x="6596645" y="2769337"/>
            <a:ext cx="1664024" cy="319299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SEGRETERIA TECNICA</a:t>
            </a:r>
          </a:p>
        </p:txBody>
      </p:sp>
      <p:sp>
        <p:nvSpPr>
          <p:cNvPr id="53" name="Rectangle: Rounded Corners 163">
            <a:extLst>
              <a:ext uri="{FF2B5EF4-FFF2-40B4-BE49-F238E27FC236}">
                <a16:creationId xmlns:a16="http://schemas.microsoft.com/office/drawing/2014/main" id="{EAE89848-C6DA-4388-B761-263724B47F66}"/>
              </a:ext>
            </a:extLst>
          </p:cNvPr>
          <p:cNvSpPr/>
          <p:nvPr/>
        </p:nvSpPr>
        <p:spPr>
          <a:xfrm>
            <a:off x="3641838" y="1753838"/>
            <a:ext cx="1153656" cy="384116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CE</a:t>
            </a:r>
          </a:p>
        </p:txBody>
      </p:sp>
      <p:pic>
        <p:nvPicPr>
          <p:cNvPr id="55" name="Picture 2" descr="Alfa financed by EU Commission">
            <a:extLst>
              <a:ext uri="{FF2B5EF4-FFF2-40B4-BE49-F238E27FC236}">
                <a16:creationId xmlns:a16="http://schemas.microsoft.com/office/drawing/2014/main" id="{BBFDC6C7-083E-424D-93BB-30A3FA1A01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85" t="26929" r="37805" b="26671"/>
          <a:stretch/>
        </p:blipFill>
        <p:spPr bwMode="auto">
          <a:xfrm>
            <a:off x="3402005" y="1754199"/>
            <a:ext cx="361598" cy="369336"/>
          </a:xfrm>
          <a:prstGeom prst="ellipse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16DE0A51-B24E-4282-A7EF-624E8239429F}"/>
              </a:ext>
            </a:extLst>
          </p:cNvPr>
          <p:cNvCxnSpPr>
            <a:stCxn id="31" idx="3"/>
            <a:endCxn id="51" idx="1"/>
          </p:cNvCxnSpPr>
          <p:nvPr/>
        </p:nvCxnSpPr>
        <p:spPr>
          <a:xfrm>
            <a:off x="6274900" y="2584754"/>
            <a:ext cx="321745" cy="344233"/>
          </a:xfrm>
          <a:prstGeom prst="bentConnector3">
            <a:avLst/>
          </a:prstGeom>
          <a:ln>
            <a:solidFill>
              <a:srgbClr val="22408E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956D6F84-96D1-46F7-8B56-C61CBE0281D5}"/>
              </a:ext>
            </a:extLst>
          </p:cNvPr>
          <p:cNvCxnSpPr>
            <a:stCxn id="31" idx="3"/>
            <a:endCxn id="37" idx="1"/>
          </p:cNvCxnSpPr>
          <p:nvPr/>
        </p:nvCxnSpPr>
        <p:spPr>
          <a:xfrm flipV="1">
            <a:off x="6274900" y="2177854"/>
            <a:ext cx="321745" cy="406900"/>
          </a:xfrm>
          <a:prstGeom prst="bentConnector3">
            <a:avLst/>
          </a:prstGeom>
          <a:ln>
            <a:solidFill>
              <a:srgbClr val="22408E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96">
            <a:extLst>
              <a:ext uri="{FF2B5EF4-FFF2-40B4-BE49-F238E27FC236}">
                <a16:creationId xmlns:a16="http://schemas.microsoft.com/office/drawing/2014/main" id="{ADFFED0A-F5A8-46A3-BCAF-1901D523F5C3}"/>
              </a:ext>
            </a:extLst>
          </p:cNvPr>
          <p:cNvCxnSpPr>
            <a:cxnSpLocks/>
          </p:cNvCxnSpPr>
          <p:nvPr/>
        </p:nvCxnSpPr>
        <p:spPr>
          <a:xfrm>
            <a:off x="4213634" y="3724702"/>
            <a:ext cx="1138987" cy="1"/>
          </a:xfrm>
          <a:prstGeom prst="line">
            <a:avLst/>
          </a:prstGeom>
          <a:ln>
            <a:solidFill>
              <a:srgbClr val="22408E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96">
            <a:extLst>
              <a:ext uri="{FF2B5EF4-FFF2-40B4-BE49-F238E27FC236}">
                <a16:creationId xmlns:a16="http://schemas.microsoft.com/office/drawing/2014/main" id="{773F1D90-7167-4C40-8358-69F68E6F1A97}"/>
              </a:ext>
            </a:extLst>
          </p:cNvPr>
          <p:cNvCxnSpPr>
            <a:cxnSpLocks/>
          </p:cNvCxnSpPr>
          <p:nvPr/>
        </p:nvCxnSpPr>
        <p:spPr>
          <a:xfrm>
            <a:off x="6139535" y="3915802"/>
            <a:ext cx="3574632" cy="1"/>
          </a:xfrm>
          <a:prstGeom prst="line">
            <a:avLst/>
          </a:prstGeom>
          <a:ln>
            <a:solidFill>
              <a:srgbClr val="22408E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96">
            <a:extLst>
              <a:ext uri="{FF2B5EF4-FFF2-40B4-BE49-F238E27FC236}">
                <a16:creationId xmlns:a16="http://schemas.microsoft.com/office/drawing/2014/main" id="{7BC50700-A765-432D-9E77-E5AFC0D0464A}"/>
              </a:ext>
            </a:extLst>
          </p:cNvPr>
          <p:cNvCxnSpPr>
            <a:cxnSpLocks/>
          </p:cNvCxnSpPr>
          <p:nvPr/>
        </p:nvCxnSpPr>
        <p:spPr>
          <a:xfrm flipH="1">
            <a:off x="4203832" y="2029356"/>
            <a:ext cx="3453" cy="1697796"/>
          </a:xfrm>
          <a:prstGeom prst="line">
            <a:avLst/>
          </a:prstGeom>
          <a:ln>
            <a:solidFill>
              <a:srgbClr val="22408E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96">
            <a:extLst>
              <a:ext uri="{FF2B5EF4-FFF2-40B4-BE49-F238E27FC236}">
                <a16:creationId xmlns:a16="http://schemas.microsoft.com/office/drawing/2014/main" id="{FBC66AB4-818F-44C3-876E-5B2F4254A2DC}"/>
              </a:ext>
            </a:extLst>
          </p:cNvPr>
          <p:cNvCxnSpPr>
            <a:cxnSpLocks/>
          </p:cNvCxnSpPr>
          <p:nvPr/>
        </p:nvCxnSpPr>
        <p:spPr>
          <a:xfrm>
            <a:off x="2926449" y="3915802"/>
            <a:ext cx="1834351" cy="1"/>
          </a:xfrm>
          <a:prstGeom prst="line">
            <a:avLst/>
          </a:prstGeom>
          <a:ln>
            <a:solidFill>
              <a:srgbClr val="22408E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: Top Corners Rounded 76">
            <a:extLst>
              <a:ext uri="{FF2B5EF4-FFF2-40B4-BE49-F238E27FC236}">
                <a16:creationId xmlns:a16="http://schemas.microsoft.com/office/drawing/2014/main" id="{CFBBD7D7-6677-4A52-9909-71CCF2BF6E32}"/>
              </a:ext>
            </a:extLst>
          </p:cNvPr>
          <p:cNvSpPr/>
          <p:nvPr/>
        </p:nvSpPr>
        <p:spPr>
          <a:xfrm rot="16200000">
            <a:off x="-575396" y="2885993"/>
            <a:ext cx="2495002" cy="280412"/>
          </a:xfrm>
          <a:prstGeom prst="round2SameRect">
            <a:avLst>
              <a:gd name="adj1" fmla="val 16667"/>
              <a:gd name="adj2" fmla="val 0"/>
            </a:avLst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PRESIDIO E COORDINAMENTO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A2643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/>
            </a:endParaRPr>
          </a:p>
        </p:txBody>
      </p:sp>
      <p:sp>
        <p:nvSpPr>
          <p:cNvPr id="59" name="Rectangle: Rounded Corners 91">
            <a:extLst>
              <a:ext uri="{FF2B5EF4-FFF2-40B4-BE49-F238E27FC236}">
                <a16:creationId xmlns:a16="http://schemas.microsoft.com/office/drawing/2014/main" id="{9D00D147-654B-46B6-AAFC-3FD1E988B4F0}"/>
              </a:ext>
            </a:extLst>
          </p:cNvPr>
          <p:cNvSpPr/>
          <p:nvPr/>
        </p:nvSpPr>
        <p:spPr>
          <a:xfrm>
            <a:off x="4604791" y="3608637"/>
            <a:ext cx="2720262" cy="614330"/>
          </a:xfrm>
          <a:prstGeom prst="roundRect">
            <a:avLst/>
          </a:prstGeom>
          <a:solidFill>
            <a:srgbClr val="0A26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SERVIZIO CENTRALE PER IL PNRR</a:t>
            </a:r>
          </a:p>
        </p:txBody>
      </p:sp>
      <p:sp>
        <p:nvSpPr>
          <p:cNvPr id="60" name="Rectangle: Rounded Corners 93">
            <a:extLst>
              <a:ext uri="{FF2B5EF4-FFF2-40B4-BE49-F238E27FC236}">
                <a16:creationId xmlns:a16="http://schemas.microsoft.com/office/drawing/2014/main" id="{80D7ABE9-EDD8-44BD-A991-BD2F29C83FCB}"/>
              </a:ext>
            </a:extLst>
          </p:cNvPr>
          <p:cNvSpPr/>
          <p:nvPr/>
        </p:nvSpPr>
        <p:spPr>
          <a:xfrm>
            <a:off x="1728464" y="3608211"/>
            <a:ext cx="1360562" cy="615184"/>
          </a:xfrm>
          <a:prstGeom prst="round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UNIT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DI AUDIT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/>
            </a:endParaRPr>
          </a:p>
        </p:txBody>
      </p:sp>
      <p:sp>
        <p:nvSpPr>
          <p:cNvPr id="61" name="Rectangle: Rounded Corners 187">
            <a:extLst>
              <a:ext uri="{FF2B5EF4-FFF2-40B4-BE49-F238E27FC236}">
                <a16:creationId xmlns:a16="http://schemas.microsoft.com/office/drawing/2014/main" id="{6F85A4C8-FEBF-41C2-8656-55EF718290CC}"/>
              </a:ext>
            </a:extLst>
          </p:cNvPr>
          <p:cNvSpPr/>
          <p:nvPr/>
        </p:nvSpPr>
        <p:spPr>
          <a:xfrm>
            <a:off x="1128092" y="2286925"/>
            <a:ext cx="871927" cy="298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PCDM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/>
            </a:endParaRPr>
          </a:p>
        </p:txBody>
      </p:sp>
      <p:sp>
        <p:nvSpPr>
          <p:cNvPr id="63" name="Rectangle: Rounded Corners 188">
            <a:extLst>
              <a:ext uri="{FF2B5EF4-FFF2-40B4-BE49-F238E27FC236}">
                <a16:creationId xmlns:a16="http://schemas.microsoft.com/office/drawing/2014/main" id="{963410F2-1EAD-4FBE-B3AC-CDDB75BC328B}"/>
              </a:ext>
            </a:extLst>
          </p:cNvPr>
          <p:cNvSpPr/>
          <p:nvPr/>
        </p:nvSpPr>
        <p:spPr>
          <a:xfrm>
            <a:off x="1128092" y="3284534"/>
            <a:ext cx="737414" cy="29814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MEF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Graphik" panose="020B0503030202060203" pitchFamily="34" charset="0"/>
              <a:cs typeface="Rubik Bold" panose="020B0604020202020204"/>
            </a:endParaRPr>
          </a:p>
        </p:txBody>
      </p:sp>
      <p:cxnSp>
        <p:nvCxnSpPr>
          <p:cNvPr id="64" name="Straight Connector 96">
            <a:extLst>
              <a:ext uri="{FF2B5EF4-FFF2-40B4-BE49-F238E27FC236}">
                <a16:creationId xmlns:a16="http://schemas.microsoft.com/office/drawing/2014/main" id="{1B5D1009-DCC8-495B-9C88-B087DE910550}"/>
              </a:ext>
            </a:extLst>
          </p:cNvPr>
          <p:cNvCxnSpPr>
            <a:cxnSpLocks/>
            <a:endCxn id="66" idx="1"/>
          </p:cNvCxnSpPr>
          <p:nvPr/>
        </p:nvCxnSpPr>
        <p:spPr>
          <a:xfrm flipH="1">
            <a:off x="8652610" y="3915802"/>
            <a:ext cx="168993" cy="1"/>
          </a:xfrm>
          <a:prstGeom prst="line">
            <a:avLst/>
          </a:prstGeom>
          <a:ln>
            <a:solidFill>
              <a:srgbClr val="22408E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: Rounded Corners 95">
            <a:extLst>
              <a:ext uri="{FF2B5EF4-FFF2-40B4-BE49-F238E27FC236}">
                <a16:creationId xmlns:a16="http://schemas.microsoft.com/office/drawing/2014/main" id="{780D04EC-B7CC-4C81-AE51-99B9D6BD9DCF}"/>
              </a:ext>
            </a:extLst>
          </p:cNvPr>
          <p:cNvSpPr/>
          <p:nvPr/>
        </p:nvSpPr>
        <p:spPr>
          <a:xfrm>
            <a:off x="8652610" y="3608211"/>
            <a:ext cx="1836207" cy="615184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 dirty="0">
                <a:ln>
                  <a:noFill/>
                </a:ln>
                <a:solidFill>
                  <a:srgbClr val="0A2542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/>
              </a:rPr>
              <a:t>UNITA’ DI MISSIONE NGEU</a:t>
            </a:r>
          </a:p>
        </p:txBody>
      </p:sp>
      <p:sp>
        <p:nvSpPr>
          <p:cNvPr id="41" name="AutoShape 2">
            <a:extLst>
              <a:ext uri="{FF2B5EF4-FFF2-40B4-BE49-F238E27FC236}">
                <a16:creationId xmlns:a16="http://schemas.microsoft.com/office/drawing/2014/main" id="{ECA27B23-F42B-4439-803A-574A1FBD078B}"/>
              </a:ext>
            </a:extLst>
          </p:cNvPr>
          <p:cNvSpPr/>
          <p:nvPr/>
        </p:nvSpPr>
        <p:spPr>
          <a:xfrm>
            <a:off x="0" y="1"/>
            <a:ext cx="12192000" cy="1475273"/>
          </a:xfrm>
          <a:prstGeom prst="rect">
            <a:avLst/>
          </a:prstGeom>
          <a:solidFill>
            <a:srgbClr val="1D3880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2DAB802-5D19-4657-9C66-6C0A51F103A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6" t="48168" r="984" b="33433"/>
          <a:stretch/>
        </p:blipFill>
        <p:spPr>
          <a:xfrm>
            <a:off x="1" y="-21192"/>
            <a:ext cx="12196790" cy="1503700"/>
          </a:xfrm>
          <a:prstGeom prst="rect">
            <a:avLst/>
          </a:prstGeom>
        </p:spPr>
      </p:pic>
      <p:sp>
        <p:nvSpPr>
          <p:cNvPr id="62" name="TextBox 16">
            <a:extLst>
              <a:ext uri="{FF2B5EF4-FFF2-40B4-BE49-F238E27FC236}">
                <a16:creationId xmlns:a16="http://schemas.microsoft.com/office/drawing/2014/main" id="{ABFDA5E4-C847-4DF5-A635-46991A7B14B0}"/>
              </a:ext>
            </a:extLst>
          </p:cNvPr>
          <p:cNvSpPr txBox="1"/>
          <p:nvPr/>
        </p:nvSpPr>
        <p:spPr>
          <a:xfrm>
            <a:off x="607348" y="914615"/>
            <a:ext cx="9800373" cy="2373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spc="12" dirty="0">
                <a:solidFill>
                  <a:srgbClr val="FFFFFF"/>
                </a:solidFill>
                <a:latin typeface="Graphik Black" panose="020B0A03030202060203" pitchFamily="34" charset="0"/>
              </a:rPr>
              <a:t>LA GOVERNANCE DEL PNRR</a:t>
            </a:r>
            <a:endParaRPr kumimoji="0" lang="en-US" sz="3200" b="1" i="0" u="none" strike="noStrike" kern="1200" cap="none" spc="12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 Black" panose="020B0A03030202060203" pitchFamily="34" charset="0"/>
            </a:endParaRPr>
          </a:p>
        </p:txBody>
      </p:sp>
      <p:pic>
        <p:nvPicPr>
          <p:cNvPr id="67" name="Picture 66" descr="Logo&#10;&#10;Description automatically generated">
            <a:extLst>
              <a:ext uri="{FF2B5EF4-FFF2-40B4-BE49-F238E27FC236}">
                <a16:creationId xmlns:a16="http://schemas.microsoft.com/office/drawing/2014/main" id="{D924C44B-E735-443B-82C2-CCA9620BE4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71803" y="6406830"/>
            <a:ext cx="351082" cy="294908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0" y="1"/>
            <a:ext cx="12192000" cy="1475273"/>
          </a:xfrm>
          <a:prstGeom prst="rect">
            <a:avLst/>
          </a:prstGeom>
          <a:solidFill>
            <a:srgbClr val="1D3880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sp>
        <p:nvSpPr>
          <p:cNvPr id="5" name="AutoShape 5"/>
          <p:cNvSpPr/>
          <p:nvPr/>
        </p:nvSpPr>
        <p:spPr>
          <a:xfrm flipV="1">
            <a:off x="476145" y="2508196"/>
            <a:ext cx="11211638" cy="58380"/>
          </a:xfrm>
          <a:prstGeom prst="line">
            <a:avLst/>
          </a:prstGeom>
          <a:ln w="47625" cap="flat">
            <a:solidFill>
              <a:srgbClr val="1D388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6" name="AutoShape 6"/>
          <p:cNvSpPr/>
          <p:nvPr/>
        </p:nvSpPr>
        <p:spPr>
          <a:xfrm rot="-5400000">
            <a:off x="848769" y="2349839"/>
            <a:ext cx="354698" cy="12822"/>
          </a:xfrm>
          <a:prstGeom prst="line">
            <a:avLst/>
          </a:prstGeom>
          <a:ln w="47625" cap="flat">
            <a:solidFill>
              <a:srgbClr val="1D388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7" name="AutoShape 7"/>
          <p:cNvSpPr/>
          <p:nvPr/>
        </p:nvSpPr>
        <p:spPr>
          <a:xfrm rot="-5400000">
            <a:off x="2759844" y="2343193"/>
            <a:ext cx="328583" cy="0"/>
          </a:xfrm>
          <a:prstGeom prst="line">
            <a:avLst/>
          </a:prstGeom>
          <a:ln w="47625" cap="flat">
            <a:solidFill>
              <a:srgbClr val="1D388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8" name="AutoShape 8"/>
          <p:cNvSpPr/>
          <p:nvPr/>
        </p:nvSpPr>
        <p:spPr>
          <a:xfrm rot="-5400000">
            <a:off x="5002423" y="2343193"/>
            <a:ext cx="328583" cy="0"/>
          </a:xfrm>
          <a:prstGeom prst="line">
            <a:avLst/>
          </a:prstGeom>
          <a:ln w="47625" cap="flat">
            <a:solidFill>
              <a:srgbClr val="1D388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9" name="AutoShape 9"/>
          <p:cNvSpPr/>
          <p:nvPr/>
        </p:nvSpPr>
        <p:spPr>
          <a:xfrm rot="-5400000">
            <a:off x="7085093" y="2343193"/>
            <a:ext cx="328583" cy="0"/>
          </a:xfrm>
          <a:prstGeom prst="line">
            <a:avLst/>
          </a:prstGeom>
          <a:ln w="47625" cap="flat">
            <a:solidFill>
              <a:srgbClr val="1D388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4" name="TextBox 14"/>
          <p:cNvSpPr txBox="1"/>
          <p:nvPr/>
        </p:nvSpPr>
        <p:spPr>
          <a:xfrm>
            <a:off x="142155" y="2721383"/>
            <a:ext cx="1767927" cy="73866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Erogazione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da parte della CE di un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</a:t>
            </a:r>
            <a:r>
              <a:rPr kumimoji="0" lang="it-IT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pre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-finanziamento di 24.9 miliardi €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all’Italia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1934724" y="2650359"/>
            <a:ext cx="1978822" cy="5539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Firma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degli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Accordi operativ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tra la CE e l’Italia </a:t>
            </a:r>
          </a:p>
        </p:txBody>
      </p:sp>
      <p:sp>
        <p:nvSpPr>
          <p:cNvPr id="22" name="TextBox 22"/>
          <p:cNvSpPr txBox="1"/>
          <p:nvPr/>
        </p:nvSpPr>
        <p:spPr>
          <a:xfrm>
            <a:off x="4167029" y="2650359"/>
            <a:ext cx="1978822" cy="3693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Invio della prima richiesta di pagamento 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6"/>
          <p:cNvSpPr txBox="1"/>
          <p:nvPr/>
        </p:nvSpPr>
        <p:spPr>
          <a:xfrm>
            <a:off x="6259973" y="2650359"/>
            <a:ext cx="1978822" cy="7386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Valutazione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positiv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dell’assessment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preliminare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d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part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dell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CE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su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M&amp;T 2021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32" name="AutoShape 10">
            <a:extLst>
              <a:ext uri="{FF2B5EF4-FFF2-40B4-BE49-F238E27FC236}">
                <a16:creationId xmlns:a16="http://schemas.microsoft.com/office/drawing/2014/main" id="{C5890AA2-9FA3-403A-9FE3-C296A2B9A301}"/>
              </a:ext>
            </a:extLst>
          </p:cNvPr>
          <p:cNvSpPr/>
          <p:nvPr/>
        </p:nvSpPr>
        <p:spPr>
          <a:xfrm rot="-5400000">
            <a:off x="10972740" y="2343193"/>
            <a:ext cx="328583" cy="0"/>
          </a:xfrm>
          <a:prstGeom prst="line">
            <a:avLst/>
          </a:prstGeom>
          <a:ln w="47625" cap="flat">
            <a:solidFill>
              <a:srgbClr val="1D388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35" name="TextBox 30">
            <a:extLst>
              <a:ext uri="{FF2B5EF4-FFF2-40B4-BE49-F238E27FC236}">
                <a16:creationId xmlns:a16="http://schemas.microsoft.com/office/drawing/2014/main" id="{DF90CB3D-CFB3-420F-979A-48BF3BBE5FD1}"/>
              </a:ext>
            </a:extLst>
          </p:cNvPr>
          <p:cNvSpPr txBox="1"/>
          <p:nvPr/>
        </p:nvSpPr>
        <p:spPr>
          <a:xfrm>
            <a:off x="10315583" y="2650358"/>
            <a:ext cx="1642897" cy="5539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Versamento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della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prima rata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di </a:t>
            </a: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21 miliardi €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all’Italia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DD1EE7A-B8CF-4ADD-A377-FC4C6F31F0C4}"/>
              </a:ext>
            </a:extLst>
          </p:cNvPr>
          <p:cNvSpPr txBox="1"/>
          <p:nvPr/>
        </p:nvSpPr>
        <p:spPr>
          <a:xfrm>
            <a:off x="301871" y="1877635"/>
            <a:ext cx="1448495" cy="276999"/>
          </a:xfrm>
          <a:prstGeom prst="rect">
            <a:avLst/>
          </a:prstGeom>
          <a:solidFill>
            <a:srgbClr val="355188"/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13 agosto 2021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F309D65-B3FA-4331-93A2-0365393D347B}"/>
              </a:ext>
            </a:extLst>
          </p:cNvPr>
          <p:cNvSpPr txBox="1"/>
          <p:nvPr/>
        </p:nvSpPr>
        <p:spPr>
          <a:xfrm>
            <a:off x="6542169" y="1868757"/>
            <a:ext cx="1523113" cy="27699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it-IT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28 febbraio 2022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B2304F5-E8D8-4C1C-B783-AA2BAD497737}"/>
              </a:ext>
            </a:extLst>
          </p:cNvPr>
          <p:cNvSpPr txBox="1"/>
          <p:nvPr/>
        </p:nvSpPr>
        <p:spPr>
          <a:xfrm>
            <a:off x="10412784" y="1868757"/>
            <a:ext cx="1448495" cy="27699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13 aprile 2022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B9CFCE0-0540-4E81-9541-86C44B6E537F}"/>
              </a:ext>
            </a:extLst>
          </p:cNvPr>
          <p:cNvSpPr txBox="1"/>
          <p:nvPr/>
        </p:nvSpPr>
        <p:spPr>
          <a:xfrm>
            <a:off x="4309361" y="1868757"/>
            <a:ext cx="1752680" cy="27699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it-IT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30 dicembre 2021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B3BE96F-BFBD-4EFF-9E4B-F25BAC211E17}"/>
              </a:ext>
            </a:extLst>
          </p:cNvPr>
          <p:cNvSpPr txBox="1"/>
          <p:nvPr/>
        </p:nvSpPr>
        <p:spPr>
          <a:xfrm>
            <a:off x="2158695" y="1868757"/>
            <a:ext cx="1610862" cy="27699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it-IT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22 dicembre 2021</a:t>
            </a:r>
          </a:p>
        </p:txBody>
      </p:sp>
      <p:pic>
        <p:nvPicPr>
          <p:cNvPr id="55" name="Immagine 2">
            <a:extLst>
              <a:ext uri="{FF2B5EF4-FFF2-40B4-BE49-F238E27FC236}">
                <a16:creationId xmlns:a16="http://schemas.microsoft.com/office/drawing/2014/main" id="{9E2A46AB-D5FC-445A-8592-3F5338791C8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942" t="29463" r="68856" b="65339"/>
          <a:stretch/>
        </p:blipFill>
        <p:spPr>
          <a:xfrm>
            <a:off x="1813245" y="1931770"/>
            <a:ext cx="192895" cy="141035"/>
          </a:xfrm>
          <a:prstGeom prst="rect">
            <a:avLst/>
          </a:prstGeom>
        </p:spPr>
      </p:pic>
      <p:pic>
        <p:nvPicPr>
          <p:cNvPr id="56" name="Picture 5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44B42B2-FB07-4A6E-818F-18736BA1D2C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69" t="27671" r="35947" b="27268"/>
          <a:stretch/>
        </p:blipFill>
        <p:spPr>
          <a:xfrm>
            <a:off x="8131502" y="1923492"/>
            <a:ext cx="224350" cy="157590"/>
          </a:xfrm>
          <a:prstGeom prst="rect">
            <a:avLst/>
          </a:prstGeom>
        </p:spPr>
      </p:pic>
      <p:pic>
        <p:nvPicPr>
          <p:cNvPr id="57" name="Immagine 2">
            <a:extLst>
              <a:ext uri="{FF2B5EF4-FFF2-40B4-BE49-F238E27FC236}">
                <a16:creationId xmlns:a16="http://schemas.microsoft.com/office/drawing/2014/main" id="{37AE1B0E-265A-48E9-972B-5BFB4DF0A9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942" t="29463" r="68856" b="65339"/>
          <a:stretch/>
        </p:blipFill>
        <p:spPr>
          <a:xfrm>
            <a:off x="11967877" y="1931770"/>
            <a:ext cx="192895" cy="141035"/>
          </a:xfrm>
          <a:prstGeom prst="rect">
            <a:avLst/>
          </a:prstGeom>
        </p:spPr>
      </p:pic>
      <p:pic>
        <p:nvPicPr>
          <p:cNvPr id="58" name="Immagine 2">
            <a:extLst>
              <a:ext uri="{FF2B5EF4-FFF2-40B4-BE49-F238E27FC236}">
                <a16:creationId xmlns:a16="http://schemas.microsoft.com/office/drawing/2014/main" id="{F723ED65-CA35-4213-A6F3-FD3D2BB6A9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942" t="29463" r="68856" b="65339"/>
          <a:stretch/>
        </p:blipFill>
        <p:spPr>
          <a:xfrm>
            <a:off x="6122020" y="1931770"/>
            <a:ext cx="192895" cy="141035"/>
          </a:xfrm>
          <a:prstGeom prst="rect">
            <a:avLst/>
          </a:prstGeom>
        </p:spPr>
      </p:pic>
      <p:pic>
        <p:nvPicPr>
          <p:cNvPr id="59" name="Picture 5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F74F82D-88DA-4B8E-948E-5B50AA76B0D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69" t="27671" r="35947" b="27268"/>
          <a:stretch/>
        </p:blipFill>
        <p:spPr>
          <a:xfrm>
            <a:off x="3823600" y="1923492"/>
            <a:ext cx="224350" cy="15759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E270AA2-79AA-4912-B51E-51179F7A2AE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6" t="48168" r="984" b="33433"/>
          <a:stretch/>
        </p:blipFill>
        <p:spPr>
          <a:xfrm>
            <a:off x="43315" y="-8485"/>
            <a:ext cx="12148685" cy="1503700"/>
          </a:xfrm>
          <a:prstGeom prst="rect">
            <a:avLst/>
          </a:prstGeom>
        </p:spPr>
      </p:pic>
      <p:sp>
        <p:nvSpPr>
          <p:cNvPr id="121" name="Rectangle 120">
            <a:extLst>
              <a:ext uri="{FF2B5EF4-FFF2-40B4-BE49-F238E27FC236}">
                <a16:creationId xmlns:a16="http://schemas.microsoft.com/office/drawing/2014/main" id="{56EDEAA1-AB06-47CA-B5EB-3D5104E5C6A9}"/>
              </a:ext>
            </a:extLst>
          </p:cNvPr>
          <p:cNvSpPr/>
          <p:nvPr/>
        </p:nvSpPr>
        <p:spPr>
          <a:xfrm>
            <a:off x="2434975" y="3719245"/>
            <a:ext cx="7037798" cy="2865733"/>
          </a:xfrm>
          <a:prstGeom prst="rect">
            <a:avLst/>
          </a:prstGeom>
          <a:noFill/>
          <a:ln w="28575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128" name="Isosceles Triangle 127">
            <a:extLst>
              <a:ext uri="{FF2B5EF4-FFF2-40B4-BE49-F238E27FC236}">
                <a16:creationId xmlns:a16="http://schemas.microsoft.com/office/drawing/2014/main" id="{CBC0FB62-6383-4A1C-B117-7C6E5733CDA3}"/>
              </a:ext>
            </a:extLst>
          </p:cNvPr>
          <p:cNvSpPr/>
          <p:nvPr/>
        </p:nvSpPr>
        <p:spPr>
          <a:xfrm>
            <a:off x="4639314" y="3494555"/>
            <a:ext cx="887290" cy="216969"/>
          </a:xfrm>
          <a:prstGeom prst="triangle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sp>
        <p:nvSpPr>
          <p:cNvPr id="46" name="AutoShape 10">
            <a:extLst>
              <a:ext uri="{FF2B5EF4-FFF2-40B4-BE49-F238E27FC236}">
                <a16:creationId xmlns:a16="http://schemas.microsoft.com/office/drawing/2014/main" id="{F1C1EE61-A7EC-47C4-8BA6-1D4671907B84}"/>
              </a:ext>
            </a:extLst>
          </p:cNvPr>
          <p:cNvSpPr/>
          <p:nvPr/>
        </p:nvSpPr>
        <p:spPr>
          <a:xfrm rot="-5400000">
            <a:off x="9141651" y="2341323"/>
            <a:ext cx="328583" cy="0"/>
          </a:xfrm>
          <a:prstGeom prst="line">
            <a:avLst/>
          </a:prstGeom>
          <a:ln w="47625" cap="flat">
            <a:solidFill>
              <a:srgbClr val="1D3880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47" name="TextBox 30">
            <a:extLst>
              <a:ext uri="{FF2B5EF4-FFF2-40B4-BE49-F238E27FC236}">
                <a16:creationId xmlns:a16="http://schemas.microsoft.com/office/drawing/2014/main" id="{51224818-813B-4F52-88C8-E056F184D33D}"/>
              </a:ext>
            </a:extLst>
          </p:cNvPr>
          <p:cNvSpPr txBox="1"/>
          <p:nvPr/>
        </p:nvSpPr>
        <p:spPr>
          <a:xfrm>
            <a:off x="8484494" y="2648489"/>
            <a:ext cx="1642897" cy="73866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Decisione CE di autorizzazione 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all’erogazione della prima rata 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4F70FFF-498C-4C7F-A7E5-2F1C2542337B}"/>
              </a:ext>
            </a:extLst>
          </p:cNvPr>
          <p:cNvSpPr txBox="1"/>
          <p:nvPr/>
        </p:nvSpPr>
        <p:spPr>
          <a:xfrm>
            <a:off x="8581695" y="1866887"/>
            <a:ext cx="1448495" cy="27699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31 marzo 2022</a:t>
            </a:r>
          </a:p>
        </p:txBody>
      </p:sp>
      <p:pic>
        <p:nvPicPr>
          <p:cNvPr id="60" name="Picture 59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2067C2C-7477-4F45-99BF-31A8A65A5C7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69" t="27671" r="35947" b="27268"/>
          <a:stretch/>
        </p:blipFill>
        <p:spPr>
          <a:xfrm>
            <a:off x="10075143" y="1929900"/>
            <a:ext cx="224350" cy="157590"/>
          </a:xfrm>
          <a:prstGeom prst="rect">
            <a:avLst/>
          </a:prstGeom>
        </p:spPr>
      </p:pic>
      <p:sp>
        <p:nvSpPr>
          <p:cNvPr id="54" name="TextBox 16">
            <a:extLst>
              <a:ext uri="{FF2B5EF4-FFF2-40B4-BE49-F238E27FC236}">
                <a16:creationId xmlns:a16="http://schemas.microsoft.com/office/drawing/2014/main" id="{78699ED4-CC6B-4786-9FAD-4F2FFAFE56EC}"/>
              </a:ext>
            </a:extLst>
          </p:cNvPr>
          <p:cNvSpPr txBox="1"/>
          <p:nvPr/>
        </p:nvSpPr>
        <p:spPr>
          <a:xfrm>
            <a:off x="341039" y="846613"/>
            <a:ext cx="11148133" cy="2373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STATO DI ATTUAZIONE:  PROGRAMMAZIONE</a:t>
            </a:r>
          </a:p>
        </p:txBody>
      </p:sp>
      <p:pic>
        <p:nvPicPr>
          <p:cNvPr id="61" name="Picture 60" descr="Logo&#10;&#10;Description automatically generated">
            <a:extLst>
              <a:ext uri="{FF2B5EF4-FFF2-40B4-BE49-F238E27FC236}">
                <a16:creationId xmlns:a16="http://schemas.microsoft.com/office/drawing/2014/main" id="{0BE54E51-7607-4F56-B3D9-01BDDB73A5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71803" y="6406830"/>
            <a:ext cx="351082" cy="2949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1DBF5F0-1A89-4E41-BB39-3FA96A24B9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7171" y="3747204"/>
            <a:ext cx="3753407" cy="2802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3497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/>
          <p:nvPr/>
        </p:nvSpPr>
        <p:spPr>
          <a:xfrm>
            <a:off x="0" y="-26991"/>
            <a:ext cx="12192000" cy="1433107"/>
          </a:xfrm>
          <a:prstGeom prst="rect">
            <a:avLst/>
          </a:prstGeom>
          <a:solidFill>
            <a:srgbClr val="1D3880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A2542"/>
              </a:solidFill>
              <a:effectLst/>
              <a:uLnTx/>
              <a:uFillTx/>
              <a:latin typeface="Graphik" panose="020B0503030202060203" pitchFamily="34" charset="0"/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3A16597E-2EEA-4308-9122-A1442C38030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4" t="36988" r="144" b="38468"/>
          <a:stretch/>
        </p:blipFill>
        <p:spPr>
          <a:xfrm>
            <a:off x="-7848" y="-3284"/>
            <a:ext cx="12156893" cy="1398844"/>
          </a:xfrm>
          <a:prstGeom prst="rect">
            <a:avLst/>
          </a:prstGeom>
        </p:spPr>
      </p:pic>
      <p:sp>
        <p:nvSpPr>
          <p:cNvPr id="71" name="TextBox 16">
            <a:extLst>
              <a:ext uri="{FF2B5EF4-FFF2-40B4-BE49-F238E27FC236}">
                <a16:creationId xmlns:a16="http://schemas.microsoft.com/office/drawing/2014/main" id="{21050DFB-DA40-4AA7-A2B9-20C49BD58984}"/>
              </a:ext>
            </a:extLst>
          </p:cNvPr>
          <p:cNvSpPr txBox="1"/>
          <p:nvPr/>
        </p:nvSpPr>
        <p:spPr>
          <a:xfrm>
            <a:off x="607348" y="914613"/>
            <a:ext cx="10343417" cy="2373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1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</a:rPr>
              <a:t>FOCUS: OBIETTIVI DEL 2021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680D956-E73D-4ACE-9576-BF9E1A0D4BB9}"/>
              </a:ext>
            </a:extLst>
          </p:cNvPr>
          <p:cNvGrpSpPr/>
          <p:nvPr/>
        </p:nvGrpSpPr>
        <p:grpSpPr>
          <a:xfrm>
            <a:off x="4874159" y="1640060"/>
            <a:ext cx="2527397" cy="993269"/>
            <a:chOff x="4874159" y="1640060"/>
            <a:chExt cx="2527397" cy="993269"/>
          </a:xfrm>
        </p:grpSpPr>
        <p:sp>
          <p:nvSpPr>
            <p:cNvPr id="28" name="Rettangolo 38">
              <a:extLst>
                <a:ext uri="{FF2B5EF4-FFF2-40B4-BE49-F238E27FC236}">
                  <a16:creationId xmlns:a16="http://schemas.microsoft.com/office/drawing/2014/main" id="{603473CA-87CE-40AA-90E6-2067565616FA}"/>
                </a:ext>
              </a:extLst>
            </p:cNvPr>
            <p:cNvSpPr/>
            <p:nvPr/>
          </p:nvSpPr>
          <p:spPr>
            <a:xfrm>
              <a:off x="4967109" y="1850721"/>
              <a:ext cx="782608" cy="782608"/>
            </a:xfrm>
            <a:prstGeom prst="ellipse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A2542">
                    <a:lumMod val="85000"/>
                    <a:lumOff val="15000"/>
                  </a:srgbClr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Rettangolo 46">
              <a:extLst>
                <a:ext uri="{FF2B5EF4-FFF2-40B4-BE49-F238E27FC236}">
                  <a16:creationId xmlns:a16="http://schemas.microsoft.com/office/drawing/2014/main" id="{FE864DAA-54B3-43F4-B925-B1133F22C90B}"/>
                </a:ext>
              </a:extLst>
            </p:cNvPr>
            <p:cNvSpPr/>
            <p:nvPr/>
          </p:nvSpPr>
          <p:spPr>
            <a:xfrm>
              <a:off x="4874159" y="2011193"/>
              <a:ext cx="968508" cy="461665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  <a:cs typeface="Rubik Bold" panose="020B0604020202020204" charset="-79"/>
                </a:rPr>
                <a:t>51</a:t>
              </a:r>
              <a:endPara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endParaRPr>
            </a:p>
          </p:txBody>
        </p:sp>
        <p:pic>
          <p:nvPicPr>
            <p:cNvPr id="31" name="Graphic 30" descr="Bullseye with solid fill">
              <a:extLst>
                <a:ext uri="{FF2B5EF4-FFF2-40B4-BE49-F238E27FC236}">
                  <a16:creationId xmlns:a16="http://schemas.microsoft.com/office/drawing/2014/main" id="{BC487ED4-B4AD-47CF-BDBE-7DE39F8C592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458421" y="1640060"/>
              <a:ext cx="477196" cy="477196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025DB72C-415D-4726-9480-C50C055EC99B}"/>
                </a:ext>
              </a:extLst>
            </p:cNvPr>
            <p:cNvSpPr/>
            <p:nvPr/>
          </p:nvSpPr>
          <p:spPr>
            <a:xfrm>
              <a:off x="5807618" y="2323121"/>
              <a:ext cx="901883" cy="242079"/>
            </a:xfrm>
            <a:prstGeom prst="rect">
              <a:avLst/>
            </a:prstGeom>
            <a:solidFill>
              <a:srgbClr val="3551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355188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endParaRPr>
            </a:p>
          </p:txBody>
        </p:sp>
        <p:sp>
          <p:nvSpPr>
            <p:cNvPr id="35" name="Segnaposto testo 4">
              <a:extLst>
                <a:ext uri="{FF2B5EF4-FFF2-40B4-BE49-F238E27FC236}">
                  <a16:creationId xmlns:a16="http://schemas.microsoft.com/office/drawing/2014/main" id="{D5786DCB-A804-439A-A22E-F4333D0763CA}"/>
                </a:ext>
              </a:extLst>
            </p:cNvPr>
            <p:cNvSpPr txBox="1">
              <a:spLocks/>
            </p:cNvSpPr>
            <p:nvPr/>
          </p:nvSpPr>
          <p:spPr>
            <a:xfrm>
              <a:off x="5779056" y="2287516"/>
              <a:ext cx="1572489" cy="239629"/>
            </a:xfrm>
            <a:prstGeom prst="rect">
              <a:avLst/>
            </a:prstGeom>
          </p:spPr>
          <p:txBody>
            <a:bodyPr lIns="91440" tIns="45720" rIns="91440" bIns="45720" anchor="t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raphik" panose="020B0503030202060203" pitchFamily="34" charset="0"/>
                  <a:cs typeface="Rubik Bold" panose="020B0604020202020204" charset="-79"/>
                </a:rPr>
                <a:t>2 Target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248A790-29D4-46AC-861C-1CF010A3E04F}"/>
                </a:ext>
              </a:extLst>
            </p:cNvPr>
            <p:cNvSpPr/>
            <p:nvPr/>
          </p:nvSpPr>
          <p:spPr>
            <a:xfrm>
              <a:off x="5802944" y="2020540"/>
              <a:ext cx="1598612" cy="26697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raphik" panose="020B0503030202060203" pitchFamily="34" charset="0"/>
                <a:cs typeface="Rubik Bold" panose="020B0604020202020204" charset="-79"/>
              </a:endParaRPr>
            </a:p>
          </p:txBody>
        </p:sp>
        <p:sp>
          <p:nvSpPr>
            <p:cNvPr id="38" name="Segnaposto testo 4">
              <a:extLst>
                <a:ext uri="{FF2B5EF4-FFF2-40B4-BE49-F238E27FC236}">
                  <a16:creationId xmlns:a16="http://schemas.microsoft.com/office/drawing/2014/main" id="{7A7A0532-6719-4217-B006-316047D80ED3}"/>
                </a:ext>
              </a:extLst>
            </p:cNvPr>
            <p:cNvSpPr txBox="1">
              <a:spLocks/>
            </p:cNvSpPr>
            <p:nvPr/>
          </p:nvSpPr>
          <p:spPr>
            <a:xfrm>
              <a:off x="5812528" y="2002872"/>
              <a:ext cx="1572489" cy="289951"/>
            </a:xfrm>
            <a:prstGeom prst="rect">
              <a:avLst/>
            </a:prstGeom>
          </p:spPr>
          <p:txBody>
            <a:bodyPr lIns="91440" tIns="45720" rIns="91440" bIns="45720" anchor="t"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A2542"/>
                  </a:solidFill>
                  <a:effectLst/>
                  <a:uLnTx/>
                  <a:uFillTx/>
                  <a:latin typeface="Graphik" panose="020B0503030202060203" pitchFamily="34" charset="0"/>
                  <a:cs typeface="Rubik Bold" panose="020B0604020202020204" charset="-79"/>
                </a:rPr>
                <a:t>49 Milestone</a:t>
              </a:r>
            </a:p>
          </p:txBody>
        </p:sp>
      </p:grpSp>
      <p:pic>
        <p:nvPicPr>
          <p:cNvPr id="61" name="Picture 60" descr="Logo&#10;&#10;Description automatically generated">
            <a:extLst>
              <a:ext uri="{FF2B5EF4-FFF2-40B4-BE49-F238E27FC236}">
                <a16:creationId xmlns:a16="http://schemas.microsoft.com/office/drawing/2014/main" id="{84F1D73C-ABEA-4A77-80CA-33DA25C06D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71803" y="6406830"/>
            <a:ext cx="351082" cy="294908"/>
          </a:xfrm>
          <a:prstGeom prst="rect">
            <a:avLst/>
          </a:prstGeom>
        </p:spPr>
      </p:pic>
      <p:sp>
        <p:nvSpPr>
          <p:cNvPr id="24" name="AutoShape 16">
            <a:extLst>
              <a:ext uri="{FF2B5EF4-FFF2-40B4-BE49-F238E27FC236}">
                <a16:creationId xmlns:a16="http://schemas.microsoft.com/office/drawing/2014/main" id="{14730812-4F1B-41EB-BDC3-C8AE2CDE0949}"/>
              </a:ext>
            </a:extLst>
          </p:cNvPr>
          <p:cNvSpPr/>
          <p:nvPr/>
        </p:nvSpPr>
        <p:spPr>
          <a:xfrm>
            <a:off x="676833" y="3088899"/>
            <a:ext cx="10838335" cy="0"/>
          </a:xfrm>
          <a:prstGeom prst="line">
            <a:avLst/>
          </a:prstGeom>
          <a:ln w="19050" cap="flat">
            <a:solidFill>
              <a:srgbClr val="1D3880">
                <a:alpha val="29804"/>
              </a:srgbClr>
            </a:solidFill>
            <a:prstDash val="solid"/>
            <a:headEnd type="none" w="sm" len="sm"/>
            <a:tailEnd type="none" w="sm" len="sm"/>
          </a:ln>
        </p:spPr>
      </p:sp>
      <p:sp>
        <p:nvSpPr>
          <p:cNvPr id="25" name="Rettangolo 46">
            <a:extLst>
              <a:ext uri="{FF2B5EF4-FFF2-40B4-BE49-F238E27FC236}">
                <a16:creationId xmlns:a16="http://schemas.microsoft.com/office/drawing/2014/main" id="{98BFD1EB-0E6F-4A13-8942-A1E42538C67E}"/>
              </a:ext>
            </a:extLst>
          </p:cNvPr>
          <p:cNvSpPr/>
          <p:nvPr/>
        </p:nvSpPr>
        <p:spPr>
          <a:xfrm>
            <a:off x="676832" y="3103227"/>
            <a:ext cx="10838335" cy="33502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i="0" u="none" strike="noStrike" kern="1200" cap="none" spc="-5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Overview</a:t>
            </a:r>
            <a:r>
              <a:rPr kumimoji="0" lang="it-IT" sz="1600" i="0" u="none" strike="noStrike" kern="1200" cap="none" spc="-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dei principali obiettivi conseguiti:</a:t>
            </a:r>
          </a:p>
        </p:txBody>
      </p:sp>
      <p:pic>
        <p:nvPicPr>
          <p:cNvPr id="42" name="Graphic 41" descr="Gavel with solid fill">
            <a:extLst>
              <a:ext uri="{FF2B5EF4-FFF2-40B4-BE49-F238E27FC236}">
                <a16:creationId xmlns:a16="http://schemas.microsoft.com/office/drawing/2014/main" id="{31714709-E8CE-49A8-B423-DC440A7661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96118" y="3693460"/>
            <a:ext cx="469232" cy="469232"/>
          </a:xfrm>
          <a:prstGeom prst="rect">
            <a:avLst/>
          </a:prstGeom>
        </p:spPr>
      </p:pic>
      <p:sp>
        <p:nvSpPr>
          <p:cNvPr id="45" name="Rettangolo 46">
            <a:extLst>
              <a:ext uri="{FF2B5EF4-FFF2-40B4-BE49-F238E27FC236}">
                <a16:creationId xmlns:a16="http://schemas.microsoft.com/office/drawing/2014/main" id="{B6C6227D-BFEF-4CF7-A8B9-5EE6A3ADDB6D}"/>
              </a:ext>
            </a:extLst>
          </p:cNvPr>
          <p:cNvSpPr/>
          <p:nvPr/>
        </p:nvSpPr>
        <p:spPr>
          <a:xfrm>
            <a:off x="1427442" y="3693460"/>
            <a:ext cx="4263325" cy="14614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-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Riforma della Giustizia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Entrata in vigore delle norme per la 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riforma del processo civile, pensale </a:t>
            </a: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e in materia di 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insolvenza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Rafforzamento della capacità amministrativa dell’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Ufficio del processo</a:t>
            </a: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, con più di 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8.000 dipendenti</a:t>
            </a:r>
          </a:p>
        </p:txBody>
      </p:sp>
      <p:sp>
        <p:nvSpPr>
          <p:cNvPr id="46" name="Rettangolo 46">
            <a:extLst>
              <a:ext uri="{FF2B5EF4-FFF2-40B4-BE49-F238E27FC236}">
                <a16:creationId xmlns:a16="http://schemas.microsoft.com/office/drawing/2014/main" id="{33E9CBF0-12D5-45C5-ACA2-74972010A76A}"/>
              </a:ext>
            </a:extLst>
          </p:cNvPr>
          <p:cNvSpPr/>
          <p:nvPr/>
        </p:nvSpPr>
        <p:spPr>
          <a:xfrm>
            <a:off x="6597916" y="3693460"/>
            <a:ext cx="4658712" cy="14614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-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Riforma degli appalti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Semplificazione delle 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rocedure di affidamento </a:t>
            </a: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di lavori, servizi e forniture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Riduzione dei tempi delle procedure di gara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Modifica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 </a:t>
            </a: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del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 Codice degli appalti pubblici</a:t>
            </a:r>
          </a:p>
        </p:txBody>
      </p:sp>
      <p:pic>
        <p:nvPicPr>
          <p:cNvPr id="48" name="Graphic 47" descr="Document outline">
            <a:extLst>
              <a:ext uri="{FF2B5EF4-FFF2-40B4-BE49-F238E27FC236}">
                <a16:creationId xmlns:a16="http://schemas.microsoft.com/office/drawing/2014/main" id="{D45012E5-C1AA-4296-8C32-2D00BE8745C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08512" y="3693460"/>
            <a:ext cx="469232" cy="469232"/>
          </a:xfrm>
          <a:prstGeom prst="rect">
            <a:avLst/>
          </a:prstGeom>
        </p:spPr>
      </p:pic>
      <p:sp>
        <p:nvSpPr>
          <p:cNvPr id="49" name="Rettangolo 46">
            <a:extLst>
              <a:ext uri="{FF2B5EF4-FFF2-40B4-BE49-F238E27FC236}">
                <a16:creationId xmlns:a16="http://schemas.microsoft.com/office/drawing/2014/main" id="{6ADFD2F3-913E-42A6-8E21-57D101CE3811}"/>
              </a:ext>
            </a:extLst>
          </p:cNvPr>
          <p:cNvSpPr/>
          <p:nvPr/>
        </p:nvSpPr>
        <p:spPr>
          <a:xfrm>
            <a:off x="1427442" y="5170000"/>
            <a:ext cx="4246880" cy="14614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-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Riforma della Pubblica Amministrazione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Semplificazione delle procedure di 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reclutamento del personale pubblico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i="0" u="none" strike="noStrike" kern="1200" cap="none" spc="-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Introduzione di nuove metodologie che valorizzano </a:t>
            </a:r>
            <a:r>
              <a:rPr kumimoji="0" lang="it-IT" sz="1200" b="1" i="0" u="none" strike="noStrike" kern="1200" cap="none" spc="-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l’</a:t>
            </a:r>
            <a:r>
              <a:rPr kumimoji="0" lang="it-IT" sz="1200" b="1" i="0" u="none" strike="noStrike" kern="1200" cap="none" spc="-5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assessment</a:t>
            </a:r>
            <a:r>
              <a:rPr kumimoji="0" lang="it-IT" sz="1200" b="1" i="0" u="none" strike="noStrike" kern="1200" cap="none" spc="-5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 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delle competenze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Sviluppo del 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ortale «</a:t>
            </a:r>
            <a:r>
              <a:rPr lang="it-IT" sz="1200" b="1" spc="-5" dirty="0" err="1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inPA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»</a:t>
            </a:r>
            <a:endParaRPr lang="it-IT" sz="1200" spc="-5" dirty="0">
              <a:solidFill>
                <a:srgbClr val="002060"/>
              </a:solidFill>
              <a:latin typeface="Graphik" panose="020B0503030202060203" pitchFamily="34" charset="0"/>
              <a:cs typeface="Arial" panose="020B0604020202020204" pitchFamily="34" charset="0"/>
            </a:endParaRPr>
          </a:p>
        </p:txBody>
      </p:sp>
      <p:pic>
        <p:nvPicPr>
          <p:cNvPr id="50" name="Graphic 49" descr="Court outline">
            <a:extLst>
              <a:ext uri="{FF2B5EF4-FFF2-40B4-BE49-F238E27FC236}">
                <a16:creationId xmlns:a16="http://schemas.microsoft.com/office/drawing/2014/main" id="{AFC3743B-350D-41EA-80A3-E68055F5B9F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21926" y="5170000"/>
            <a:ext cx="469232" cy="469232"/>
          </a:xfrm>
          <a:prstGeom prst="rect">
            <a:avLst/>
          </a:prstGeom>
        </p:spPr>
      </p:pic>
      <p:sp>
        <p:nvSpPr>
          <p:cNvPr id="51" name="Rettangolo 46">
            <a:extLst>
              <a:ext uri="{FF2B5EF4-FFF2-40B4-BE49-F238E27FC236}">
                <a16:creationId xmlns:a16="http://schemas.microsoft.com/office/drawing/2014/main" id="{E9E5B764-5928-47A6-BDBE-ACFEC944563C}"/>
              </a:ext>
            </a:extLst>
          </p:cNvPr>
          <p:cNvSpPr/>
          <p:nvPr/>
        </p:nvSpPr>
        <p:spPr>
          <a:xfrm>
            <a:off x="6597916" y="5170000"/>
            <a:ext cx="4526065" cy="146141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-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raphik" panose="020B0503030202060203" pitchFamily="34" charset="0"/>
                <a:cs typeface="Arial" panose="020B0604020202020204" pitchFamily="34" charset="0"/>
              </a:rPr>
              <a:t>Rifinanziamento e ridefinizione del Fondo 394/81 gestito da SIMEST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iù di 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6 mila domande presentate </a:t>
            </a: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da PMI;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iù di 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5 mila domande approvate</a:t>
            </a: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 dal Consiglio di decisione di SIMEST;</a:t>
            </a:r>
          </a:p>
          <a:p>
            <a:pPr marL="285750" marR="0" lvl="0" indent="-28575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Più di </a:t>
            </a:r>
            <a:r>
              <a:rPr lang="it-IT" sz="1200" b="1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4 mila contratti di finanziamento già firmati </a:t>
            </a:r>
            <a:r>
              <a:rPr lang="it-IT" sz="1200" spc="-5" dirty="0">
                <a:solidFill>
                  <a:srgbClr val="002060"/>
                </a:solidFill>
                <a:latin typeface="Graphik" panose="020B0503030202060203" pitchFamily="34" charset="0"/>
                <a:cs typeface="Arial" panose="020B0604020202020204" pitchFamily="34" charset="0"/>
              </a:rPr>
              <a:t>con le PMI beneficiarie.</a:t>
            </a:r>
          </a:p>
        </p:txBody>
      </p:sp>
      <p:pic>
        <p:nvPicPr>
          <p:cNvPr id="53" name="Graphic 52" descr="Money outline">
            <a:extLst>
              <a:ext uri="{FF2B5EF4-FFF2-40B4-BE49-F238E27FC236}">
                <a16:creationId xmlns:a16="http://schemas.microsoft.com/office/drawing/2014/main" id="{054B2F67-5E73-4340-B7A7-6BC972B0B65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08512" y="5170000"/>
            <a:ext cx="469232" cy="46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0461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i Office">
  <a:themeElements>
    <a:clrScheme name="Personalizzati 2">
      <a:dk1>
        <a:srgbClr val="0A2542"/>
      </a:dk1>
      <a:lt1>
        <a:srgbClr val="FFFFFF"/>
      </a:lt1>
      <a:dk2>
        <a:srgbClr val="C3932B"/>
      </a:dk2>
      <a:lt2>
        <a:srgbClr val="476CB6"/>
      </a:lt2>
      <a:accent1>
        <a:srgbClr val="F8C94D"/>
      </a:accent1>
      <a:accent2>
        <a:srgbClr val="476CB6"/>
      </a:accent2>
      <a:accent3>
        <a:srgbClr val="273D66"/>
      </a:accent3>
      <a:accent4>
        <a:srgbClr val="DCDEDD"/>
      </a:accent4>
      <a:accent5>
        <a:srgbClr val="5485E2"/>
      </a:accent5>
      <a:accent6>
        <a:srgbClr val="8D6A23"/>
      </a:accent6>
      <a:hlink>
        <a:srgbClr val="DCE1E7"/>
      </a:hlink>
      <a:folHlink>
        <a:srgbClr val="09264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Personalizzati 2">
      <a:dk1>
        <a:srgbClr val="0A2542"/>
      </a:dk1>
      <a:lt1>
        <a:srgbClr val="FFFFFF"/>
      </a:lt1>
      <a:dk2>
        <a:srgbClr val="C3932B"/>
      </a:dk2>
      <a:lt2>
        <a:srgbClr val="476CB6"/>
      </a:lt2>
      <a:accent1>
        <a:srgbClr val="F8C94D"/>
      </a:accent1>
      <a:accent2>
        <a:srgbClr val="476CB6"/>
      </a:accent2>
      <a:accent3>
        <a:srgbClr val="273D66"/>
      </a:accent3>
      <a:accent4>
        <a:srgbClr val="DCDEDD"/>
      </a:accent4>
      <a:accent5>
        <a:srgbClr val="5485E2"/>
      </a:accent5>
      <a:accent6>
        <a:srgbClr val="8D6A23"/>
      </a:accent6>
      <a:hlink>
        <a:srgbClr val="DCE1E7"/>
      </a:hlink>
      <a:folHlink>
        <a:srgbClr val="092642"/>
      </a:folHlink>
    </a:clrScheme>
    <a:fontScheme name="Tema di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Tema di Office">
  <a:themeElements>
    <a:clrScheme name="Personalizzati 2">
      <a:dk1>
        <a:srgbClr val="0A2542"/>
      </a:dk1>
      <a:lt1>
        <a:srgbClr val="FFFFFF"/>
      </a:lt1>
      <a:dk2>
        <a:srgbClr val="C3932B"/>
      </a:dk2>
      <a:lt2>
        <a:srgbClr val="476CB6"/>
      </a:lt2>
      <a:accent1>
        <a:srgbClr val="F8C94D"/>
      </a:accent1>
      <a:accent2>
        <a:srgbClr val="476CB6"/>
      </a:accent2>
      <a:accent3>
        <a:srgbClr val="273D66"/>
      </a:accent3>
      <a:accent4>
        <a:srgbClr val="DCDEDD"/>
      </a:accent4>
      <a:accent5>
        <a:srgbClr val="5485E2"/>
      </a:accent5>
      <a:accent6>
        <a:srgbClr val="8D6A23"/>
      </a:accent6>
      <a:hlink>
        <a:srgbClr val="DCE1E7"/>
      </a:hlink>
      <a:folHlink>
        <a:srgbClr val="09264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Tema di Office">
  <a:themeElements>
    <a:clrScheme name="Personalizzati 2">
      <a:dk1>
        <a:srgbClr val="0A2542"/>
      </a:dk1>
      <a:lt1>
        <a:srgbClr val="FFFFFF"/>
      </a:lt1>
      <a:dk2>
        <a:srgbClr val="C3932B"/>
      </a:dk2>
      <a:lt2>
        <a:srgbClr val="476CB6"/>
      </a:lt2>
      <a:accent1>
        <a:srgbClr val="F8C94D"/>
      </a:accent1>
      <a:accent2>
        <a:srgbClr val="476CB6"/>
      </a:accent2>
      <a:accent3>
        <a:srgbClr val="273D66"/>
      </a:accent3>
      <a:accent4>
        <a:srgbClr val="DCDEDD"/>
      </a:accent4>
      <a:accent5>
        <a:srgbClr val="5485E2"/>
      </a:accent5>
      <a:accent6>
        <a:srgbClr val="8D6A23"/>
      </a:accent6>
      <a:hlink>
        <a:srgbClr val="DCE1E7"/>
      </a:hlink>
      <a:folHlink>
        <a:srgbClr val="09264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Tema di Office">
  <a:themeElements>
    <a:clrScheme name="Personalizzati 2">
      <a:dk1>
        <a:srgbClr val="0A2542"/>
      </a:dk1>
      <a:lt1>
        <a:srgbClr val="FFFFFF"/>
      </a:lt1>
      <a:dk2>
        <a:srgbClr val="C3932B"/>
      </a:dk2>
      <a:lt2>
        <a:srgbClr val="476CB6"/>
      </a:lt2>
      <a:accent1>
        <a:srgbClr val="F8C94D"/>
      </a:accent1>
      <a:accent2>
        <a:srgbClr val="476CB6"/>
      </a:accent2>
      <a:accent3>
        <a:srgbClr val="273D66"/>
      </a:accent3>
      <a:accent4>
        <a:srgbClr val="DCDEDD"/>
      </a:accent4>
      <a:accent5>
        <a:srgbClr val="5485E2"/>
      </a:accent5>
      <a:accent6>
        <a:srgbClr val="8D6A23"/>
      </a:accent6>
      <a:hlink>
        <a:srgbClr val="DCE1E7"/>
      </a:hlink>
      <a:folHlink>
        <a:srgbClr val="09264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ersonalizzati 2">
    <a:dk1>
      <a:srgbClr val="0A2542"/>
    </a:dk1>
    <a:lt1>
      <a:srgbClr val="FFFFFF"/>
    </a:lt1>
    <a:dk2>
      <a:srgbClr val="C3932B"/>
    </a:dk2>
    <a:lt2>
      <a:srgbClr val="476CB6"/>
    </a:lt2>
    <a:accent1>
      <a:srgbClr val="F8C94D"/>
    </a:accent1>
    <a:accent2>
      <a:srgbClr val="476CB6"/>
    </a:accent2>
    <a:accent3>
      <a:srgbClr val="273D66"/>
    </a:accent3>
    <a:accent4>
      <a:srgbClr val="DCDEDD"/>
    </a:accent4>
    <a:accent5>
      <a:srgbClr val="5485E2"/>
    </a:accent5>
    <a:accent6>
      <a:srgbClr val="8D6A23"/>
    </a:accent6>
    <a:hlink>
      <a:srgbClr val="DCE1E7"/>
    </a:hlink>
    <a:folHlink>
      <a:srgbClr val="09264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Personalizzati 2">
    <a:dk1>
      <a:srgbClr val="0A2542"/>
    </a:dk1>
    <a:lt1>
      <a:srgbClr val="FFFFFF"/>
    </a:lt1>
    <a:dk2>
      <a:srgbClr val="C3932B"/>
    </a:dk2>
    <a:lt2>
      <a:srgbClr val="476CB6"/>
    </a:lt2>
    <a:accent1>
      <a:srgbClr val="F8C94D"/>
    </a:accent1>
    <a:accent2>
      <a:srgbClr val="476CB6"/>
    </a:accent2>
    <a:accent3>
      <a:srgbClr val="273D66"/>
    </a:accent3>
    <a:accent4>
      <a:srgbClr val="DCDEDD"/>
    </a:accent4>
    <a:accent5>
      <a:srgbClr val="5485E2"/>
    </a:accent5>
    <a:accent6>
      <a:srgbClr val="8D6A23"/>
    </a:accent6>
    <a:hlink>
      <a:srgbClr val="DCE1E7"/>
    </a:hlink>
    <a:folHlink>
      <a:srgbClr val="09264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47FA69C250BE842A685C73BB47D6EE1" ma:contentTypeVersion="10" ma:contentTypeDescription="Create a new document." ma:contentTypeScope="" ma:versionID="26a00f7bd9d3e0af4eaf918565734ddf">
  <xsd:schema xmlns:xsd="http://www.w3.org/2001/XMLSchema" xmlns:xs="http://www.w3.org/2001/XMLSchema" xmlns:p="http://schemas.microsoft.com/office/2006/metadata/properties" xmlns:ns2="0076d322-ad0d-44eb-a7bf-8b897416eb57" targetNamespace="http://schemas.microsoft.com/office/2006/metadata/properties" ma:root="true" ma:fieldsID="d8dcaa17d595f48aed2f45388c17ec63" ns2:_="">
    <xsd:import namespace="0076d322-ad0d-44eb-a7bf-8b897416eb5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76d322-ad0d-44eb-a7bf-8b897416eb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014066C-7481-458C-9341-EAB424FB1BBD}">
  <ds:schemaRefs>
    <ds:schemaRef ds:uri="0076d322-ad0d-44eb-a7bf-8b897416eb5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74704F0-8281-4730-ACBF-00F5DF8068D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F4CC3A6-AF12-4383-B3C1-09F0E138C53E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0076d322-ad0d-44eb-a7bf-8b897416eb57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14</TotalTime>
  <Words>1273</Words>
  <Application>Microsoft Office PowerPoint</Application>
  <PresentationFormat>Widescreen</PresentationFormat>
  <Paragraphs>245</Paragraphs>
  <Slides>16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1" baseType="lpstr">
      <vt:lpstr>Arial</vt:lpstr>
      <vt:lpstr>Calibri</vt:lpstr>
      <vt:lpstr>Calibri Light</vt:lpstr>
      <vt:lpstr>Graphik</vt:lpstr>
      <vt:lpstr>Graphik Black</vt:lpstr>
      <vt:lpstr>Segoe UI</vt:lpstr>
      <vt:lpstr>Tahoma</vt:lpstr>
      <vt:lpstr>Wingdings</vt:lpstr>
      <vt:lpstr>1_Tema di Office</vt:lpstr>
      <vt:lpstr>Tema di Office</vt:lpstr>
      <vt:lpstr>2_Tema di Office</vt:lpstr>
      <vt:lpstr>3_Tema di Office</vt:lpstr>
      <vt:lpstr>Office Theme</vt:lpstr>
      <vt:lpstr>4_Tema di Office</vt:lpstr>
      <vt:lpstr>think-cell Slide</vt:lpstr>
      <vt:lpstr>PNRR E  SERVIZI INDUSTRIALI Imprese e opportunità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subject/>
  <dc:creator>Carmine Di Nuzzo</dc:creator>
  <cp:keywords/>
  <dc:description/>
  <cp:lastModifiedBy>Pirone, Chiara</cp:lastModifiedBy>
  <cp:revision>1</cp:revision>
  <dcterms:created xsi:type="dcterms:W3CDTF">2021-07-01T15:12:57Z</dcterms:created>
  <dcterms:modified xsi:type="dcterms:W3CDTF">2022-05-17T18:37:4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47FA69C250BE842A685C73BB47D6EE1</vt:lpwstr>
  </property>
</Properties>
</file>